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xls" ContentType="application/vnd.ms-excel"/>
  <Default Extension="wmf" ContentType="image/x-w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44" r:id="rId1"/>
  </p:sldMasterIdLst>
  <p:notesMasterIdLst>
    <p:notesMasterId r:id="rId19"/>
  </p:notesMasterIdLst>
  <p:sldIdLst>
    <p:sldId id="374" r:id="rId2"/>
    <p:sldId id="376" r:id="rId3"/>
    <p:sldId id="377" r:id="rId4"/>
    <p:sldId id="378" r:id="rId5"/>
    <p:sldId id="379" r:id="rId6"/>
    <p:sldId id="386" r:id="rId7"/>
    <p:sldId id="355" r:id="rId8"/>
    <p:sldId id="360" r:id="rId9"/>
    <p:sldId id="383" r:id="rId10"/>
    <p:sldId id="369" r:id="rId11"/>
    <p:sldId id="385" r:id="rId12"/>
    <p:sldId id="384" r:id="rId13"/>
    <p:sldId id="381" r:id="rId14"/>
    <p:sldId id="380" r:id="rId15"/>
    <p:sldId id="382" r:id="rId16"/>
    <p:sldId id="371" r:id="rId17"/>
    <p:sldId id="372" r:id="rId18"/>
  </p:sldIdLst>
  <p:sldSz cx="9144000" cy="6858000" type="screen4x3"/>
  <p:notesSz cx="6669088" cy="9928225"/>
  <p:embeddedFontLst>
    <p:embeddedFont>
      <p:font typeface="Calibri" panose="020F0502020204030204" pitchFamily="34" charset="0"/>
      <p:regular r:id="rId20"/>
      <p:bold r:id="rId21"/>
      <p:italic r:id="rId22"/>
      <p:boldItalic r:id="rId23"/>
    </p:embeddedFont>
  </p:embeddedFont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9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06D4"/>
    <a:srgbClr val="1205BB"/>
    <a:srgbClr val="4C0AB6"/>
    <a:srgbClr val="FFFFFF"/>
    <a:srgbClr val="336699"/>
    <a:srgbClr val="CC3399"/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37CE84F3-28C3-443E-9E96-99CF82512B78}" styleName="Темный стиль 1 - акцент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FD4443E-F989-4FC4-A0C8-D5A2AF1F390B}" styleName="Темный стиль 1 -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162" autoAdjust="0"/>
    <p:restoredTop sz="95216" autoAdjust="0"/>
  </p:normalViewPr>
  <p:slideViewPr>
    <p:cSldViewPr>
      <p:cViewPr varScale="1">
        <p:scale>
          <a:sx n="86" d="100"/>
          <a:sy n="86" d="100"/>
        </p:scale>
        <p:origin x="1622" y="72"/>
      </p:cViewPr>
      <p:guideLst>
        <p:guide orient="horz" pos="2160"/>
        <p:guide pos="3198"/>
      </p:guideLst>
    </p:cSldViewPr>
  </p:slideViewPr>
  <p:outlineViewPr>
    <p:cViewPr>
      <p:scale>
        <a:sx n="33" d="100"/>
        <a:sy n="33" d="100"/>
      </p:scale>
      <p:origin x="0" y="1603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2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4.fntdata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3.fntdata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30842F0-7A90-4150-8CE7-1A863BC4A315}" type="datetimeFigureOut">
              <a:rPr lang="ru-RU"/>
              <a:pPr>
                <a:defRPr/>
              </a:pPr>
              <a:t>25.1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66750" y="4716463"/>
            <a:ext cx="5335588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77825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386E4F4-A968-44FA-AFBE-9074004E081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474395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1B4451-8C1E-4A40-891D-42DE05D29E51}" type="datetime1">
              <a:rPr lang="ru-RU"/>
              <a:pPr>
                <a:defRPr/>
              </a:pPr>
              <a:t>25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9AC229-A22B-4D99-9D04-CDD7D568E8A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6F904F-EBFE-4D9A-8F9F-C2C6BE293D4E}" type="datetime1">
              <a:rPr lang="ru-RU"/>
              <a:pPr>
                <a:defRPr/>
              </a:pPr>
              <a:t>25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B7ADC9-E7F8-4CD1-A2E3-097590598F2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508907-E194-4557-9AEA-F41CBA460DB4}" type="datetime1">
              <a:rPr lang="ru-RU"/>
              <a:pPr>
                <a:defRPr/>
              </a:pPr>
              <a:t>25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BFC604-C128-4781-8744-2DC6AC20D2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9A200A-9153-4174-9B05-C9362F73582E}" type="datetime1">
              <a:rPr lang="ru-RU"/>
              <a:pPr>
                <a:defRPr/>
              </a:pPr>
              <a:t>25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9DBFF2-E474-448C-93DB-325B17F2662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E30D84-472C-496C-B601-5A015A93CF79}" type="datetime1">
              <a:rPr lang="ru-RU"/>
              <a:pPr>
                <a:defRPr/>
              </a:pPr>
              <a:t>25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B6E57-02C6-41DE-85A0-A1376B79F58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9227C4-6EFC-4997-8F0B-025FC0806533}" type="datetime1">
              <a:rPr lang="ru-RU"/>
              <a:pPr>
                <a:defRPr/>
              </a:pPr>
              <a:t>25.11.202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FE9599-AAFD-4863-8A2A-FC036780B75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7921FA-B6FF-4032-81B8-7D1DFC46A380}" type="datetime1">
              <a:rPr lang="ru-RU"/>
              <a:pPr>
                <a:defRPr/>
              </a:pPr>
              <a:t>25.11.2025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B00D44-0601-460D-BA94-021D404D625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B6DF37-8888-4DD2-9A35-A71CBB90E7C0}" type="datetime1">
              <a:rPr lang="ru-RU"/>
              <a:pPr>
                <a:defRPr/>
              </a:pPr>
              <a:t>25.11.2025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9D6872-0D3E-4CB3-B4A2-4E6EA441F1E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474574-422B-4860-9A91-1DBDFFCD3D1E}" type="datetime1">
              <a:rPr lang="ru-RU"/>
              <a:pPr>
                <a:defRPr/>
              </a:pPr>
              <a:t>25.11.2025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B73737-3AE5-49F3-A21F-EF64B7C1B1C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6C913B-EAEB-46B4-BDE3-1640DB4C7DB6}" type="datetime1">
              <a:rPr lang="ru-RU"/>
              <a:pPr>
                <a:defRPr/>
              </a:pPr>
              <a:t>25.11.202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5D26FB-AF96-48F1-8075-F2C5A73681A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749CA5-62EA-4C1E-A3D0-0A1545D787E2}" type="datetime1">
              <a:rPr lang="ru-RU"/>
              <a:pPr>
                <a:defRPr/>
              </a:pPr>
              <a:t>25.11.202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318D2B-F1BE-44BE-BE89-B559EF2CC09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5123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B9F7623-A9C7-41B6-B884-E8BD8201D3E4}" type="datetime1">
              <a:rPr lang="ru-RU"/>
              <a:pPr>
                <a:defRPr/>
              </a:pPr>
              <a:t>25.1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C5E389C-B6EB-40F0-AAAC-DB10D7C9BDC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50" Type="http://schemas.openxmlformats.org/officeDocument/2006/relationships/tags" Target="../tags/tag49.xml"/><Relationship Id="rId55" Type="http://schemas.openxmlformats.org/officeDocument/2006/relationships/tags" Target="../tags/tag54.xml"/><Relationship Id="rId63" Type="http://schemas.openxmlformats.org/officeDocument/2006/relationships/tags" Target="../tags/tag62.xml"/><Relationship Id="rId68" Type="http://schemas.openxmlformats.org/officeDocument/2006/relationships/tags" Target="../tags/tag67.xml"/><Relationship Id="rId76" Type="http://schemas.openxmlformats.org/officeDocument/2006/relationships/tags" Target="../tags/tag75.xml"/><Relationship Id="rId84" Type="http://schemas.openxmlformats.org/officeDocument/2006/relationships/tags" Target="../tags/tag83.xml"/><Relationship Id="rId89" Type="http://schemas.openxmlformats.org/officeDocument/2006/relationships/tags" Target="../tags/tag88.xml"/><Relationship Id="rId7" Type="http://schemas.openxmlformats.org/officeDocument/2006/relationships/tags" Target="../tags/tag6.xml"/><Relationship Id="rId71" Type="http://schemas.openxmlformats.org/officeDocument/2006/relationships/tags" Target="../tags/tag70.xml"/><Relationship Id="rId92" Type="http://schemas.openxmlformats.org/officeDocument/2006/relationships/tags" Target="../tags/tag91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9" Type="http://schemas.openxmlformats.org/officeDocument/2006/relationships/tags" Target="../tags/tag28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53" Type="http://schemas.openxmlformats.org/officeDocument/2006/relationships/tags" Target="../tags/tag52.xml"/><Relationship Id="rId58" Type="http://schemas.openxmlformats.org/officeDocument/2006/relationships/tags" Target="../tags/tag57.xml"/><Relationship Id="rId66" Type="http://schemas.openxmlformats.org/officeDocument/2006/relationships/tags" Target="../tags/tag65.xml"/><Relationship Id="rId74" Type="http://schemas.openxmlformats.org/officeDocument/2006/relationships/tags" Target="../tags/tag73.xml"/><Relationship Id="rId79" Type="http://schemas.openxmlformats.org/officeDocument/2006/relationships/tags" Target="../tags/tag78.xml"/><Relationship Id="rId87" Type="http://schemas.openxmlformats.org/officeDocument/2006/relationships/tags" Target="../tags/tag86.xml"/><Relationship Id="rId5" Type="http://schemas.openxmlformats.org/officeDocument/2006/relationships/tags" Target="../tags/tag4.xml"/><Relationship Id="rId61" Type="http://schemas.openxmlformats.org/officeDocument/2006/relationships/tags" Target="../tags/tag60.xml"/><Relationship Id="rId82" Type="http://schemas.openxmlformats.org/officeDocument/2006/relationships/tags" Target="../tags/tag81.xml"/><Relationship Id="rId90" Type="http://schemas.openxmlformats.org/officeDocument/2006/relationships/tags" Target="../tags/tag89.xml"/><Relationship Id="rId95" Type="http://schemas.openxmlformats.org/officeDocument/2006/relationships/slideLayout" Target="../slideLayouts/slideLayout7.xml"/><Relationship Id="rId19" Type="http://schemas.openxmlformats.org/officeDocument/2006/relationships/tags" Target="../tags/tag1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tags" Target="../tags/tag47.xml"/><Relationship Id="rId56" Type="http://schemas.openxmlformats.org/officeDocument/2006/relationships/tags" Target="../tags/tag55.xml"/><Relationship Id="rId64" Type="http://schemas.openxmlformats.org/officeDocument/2006/relationships/tags" Target="../tags/tag63.xml"/><Relationship Id="rId69" Type="http://schemas.openxmlformats.org/officeDocument/2006/relationships/tags" Target="../tags/tag68.xml"/><Relationship Id="rId77" Type="http://schemas.openxmlformats.org/officeDocument/2006/relationships/tags" Target="../tags/tag76.xml"/><Relationship Id="rId8" Type="http://schemas.openxmlformats.org/officeDocument/2006/relationships/tags" Target="../tags/tag7.xml"/><Relationship Id="rId51" Type="http://schemas.openxmlformats.org/officeDocument/2006/relationships/tags" Target="../tags/tag50.xml"/><Relationship Id="rId72" Type="http://schemas.openxmlformats.org/officeDocument/2006/relationships/tags" Target="../tags/tag71.xml"/><Relationship Id="rId80" Type="http://schemas.openxmlformats.org/officeDocument/2006/relationships/tags" Target="../tags/tag79.xml"/><Relationship Id="rId85" Type="http://schemas.openxmlformats.org/officeDocument/2006/relationships/tags" Target="../tags/tag84.xml"/><Relationship Id="rId93" Type="http://schemas.openxmlformats.org/officeDocument/2006/relationships/tags" Target="../tags/tag92.xml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59" Type="http://schemas.openxmlformats.org/officeDocument/2006/relationships/tags" Target="../tags/tag58.xml"/><Relationship Id="rId67" Type="http://schemas.openxmlformats.org/officeDocument/2006/relationships/tags" Target="../tags/tag66.xml"/><Relationship Id="rId20" Type="http://schemas.openxmlformats.org/officeDocument/2006/relationships/tags" Target="../tags/tag19.xml"/><Relationship Id="rId41" Type="http://schemas.openxmlformats.org/officeDocument/2006/relationships/tags" Target="../tags/tag40.xml"/><Relationship Id="rId54" Type="http://schemas.openxmlformats.org/officeDocument/2006/relationships/tags" Target="../tags/tag53.xml"/><Relationship Id="rId62" Type="http://schemas.openxmlformats.org/officeDocument/2006/relationships/tags" Target="../tags/tag61.xml"/><Relationship Id="rId70" Type="http://schemas.openxmlformats.org/officeDocument/2006/relationships/tags" Target="../tags/tag69.xml"/><Relationship Id="rId75" Type="http://schemas.openxmlformats.org/officeDocument/2006/relationships/tags" Target="../tags/tag74.xml"/><Relationship Id="rId83" Type="http://schemas.openxmlformats.org/officeDocument/2006/relationships/tags" Target="../tags/tag82.xml"/><Relationship Id="rId88" Type="http://schemas.openxmlformats.org/officeDocument/2006/relationships/tags" Target="../tags/tag87.xml"/><Relationship Id="rId91" Type="http://schemas.openxmlformats.org/officeDocument/2006/relationships/tags" Target="../tags/tag90.xml"/><Relationship Id="rId96" Type="http://schemas.openxmlformats.org/officeDocument/2006/relationships/oleObject" Target="../embeddings/oleObject1.bin"/><Relationship Id="rId1" Type="http://schemas.openxmlformats.org/officeDocument/2006/relationships/vmlDrawing" Target="../drawings/vmlDrawing2.vml"/><Relationship Id="rId6" Type="http://schemas.openxmlformats.org/officeDocument/2006/relationships/tags" Target="../tags/tag5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tags" Target="../tags/tag48.xml"/><Relationship Id="rId57" Type="http://schemas.openxmlformats.org/officeDocument/2006/relationships/tags" Target="../tags/tag56.xml"/><Relationship Id="rId10" Type="http://schemas.openxmlformats.org/officeDocument/2006/relationships/tags" Target="../tags/tag9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52" Type="http://schemas.openxmlformats.org/officeDocument/2006/relationships/tags" Target="../tags/tag51.xml"/><Relationship Id="rId60" Type="http://schemas.openxmlformats.org/officeDocument/2006/relationships/tags" Target="../tags/tag59.xml"/><Relationship Id="rId65" Type="http://schemas.openxmlformats.org/officeDocument/2006/relationships/tags" Target="../tags/tag64.xml"/><Relationship Id="rId73" Type="http://schemas.openxmlformats.org/officeDocument/2006/relationships/tags" Target="../tags/tag72.xml"/><Relationship Id="rId78" Type="http://schemas.openxmlformats.org/officeDocument/2006/relationships/tags" Target="../tags/tag77.xml"/><Relationship Id="rId81" Type="http://schemas.openxmlformats.org/officeDocument/2006/relationships/tags" Target="../tags/tag80.xml"/><Relationship Id="rId86" Type="http://schemas.openxmlformats.org/officeDocument/2006/relationships/tags" Target="../tags/tag85.xml"/><Relationship Id="rId94" Type="http://schemas.openxmlformats.org/officeDocument/2006/relationships/tags" Target="../tags/tag93.xml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9.png"/><Relationship Id="rId4" Type="http://schemas.openxmlformats.org/officeDocument/2006/relationships/image" Target="../media/image18.w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hyperlink" Target="http://www.chukotka.org/" TargetMode="External"/><Relationship Id="rId7" Type="http://schemas.openxmlformats.org/officeDocument/2006/relationships/image" Target="../media/image10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hyperlink" Target="http://en.wikipedia.org/wiki/File:Chukotka_in_Russia.svg" TargetMode="External"/><Relationship Id="rId4" Type="http://schemas.openxmlformats.org/officeDocument/2006/relationships/hyperlink" Target="http://www.visitchukotka.com/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0.png"/><Relationship Id="rId7" Type="http://schemas.openxmlformats.org/officeDocument/2006/relationships/oleObject" Target="../embeddings/_____Microsoft_Excel_97-20031.xls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hyperlink" Target="http://www.visitchukotka.com/" TargetMode="External"/><Relationship Id="rId5" Type="http://schemas.openxmlformats.org/officeDocument/2006/relationships/hyperlink" Target="http://www.chukotka.org/" TargetMode="Externa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34728" y="2134543"/>
            <a:ext cx="7812868" cy="1713793"/>
          </a:xfrm>
        </p:spPr>
        <p:txBody>
          <a:bodyPr/>
          <a:lstStyle/>
          <a:p>
            <a:pPr marL="0" indent="0">
              <a:buNone/>
            </a:pPr>
            <a:r>
              <a:rPr lang="ru-RU" sz="2000" b="1" dirty="0" smtClean="0">
                <a:solidFill>
                  <a:srgbClr val="1506D4"/>
                </a:solidFill>
              </a:rPr>
              <a:t>Сенатор РФ</a:t>
            </a:r>
          </a:p>
          <a:p>
            <a:pPr marL="0" indent="0">
              <a:buNone/>
            </a:pPr>
            <a:r>
              <a:rPr lang="ru-RU" sz="2000" b="1" dirty="0" smtClean="0">
                <a:solidFill>
                  <a:srgbClr val="1506D4"/>
                </a:solidFill>
              </a:rPr>
              <a:t>Отке Анна Ивановна</a:t>
            </a:r>
          </a:p>
          <a:p>
            <a:endParaRPr lang="ru-RU" sz="2000" b="1" dirty="0">
              <a:solidFill>
                <a:srgbClr val="1506D4"/>
              </a:solidFill>
            </a:endParaRPr>
          </a:p>
          <a:p>
            <a:pPr marL="0" indent="0" algn="ctr">
              <a:buNone/>
            </a:pPr>
            <a:r>
              <a:rPr lang="ru-RU" sz="2400" b="1" dirty="0" smtClean="0">
                <a:solidFill>
                  <a:srgbClr val="1506D4"/>
                </a:solidFill>
              </a:rPr>
              <a:t>«Геоэкономический вектор Чукотского АО»</a:t>
            </a:r>
            <a:r>
              <a:rPr lang="en-US" sz="2400" b="1" dirty="0">
                <a:solidFill>
                  <a:srgbClr val="1506D4"/>
                </a:solidFill>
              </a:rPr>
              <a:t> </a:t>
            </a:r>
            <a:endParaRPr lang="ru-RU" sz="2400" b="1" dirty="0" smtClean="0">
              <a:solidFill>
                <a:srgbClr val="1506D4"/>
              </a:solidFill>
            </a:endParaRPr>
          </a:p>
          <a:p>
            <a:endParaRPr lang="ru-RU" sz="2000" b="1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89DBFF2-E474-448C-93DB-325B17F26627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2591780" y="622138"/>
            <a:ext cx="626469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C00000"/>
                </a:solidFill>
              </a:rPr>
              <a:t>Международная научная конференция </a:t>
            </a:r>
            <a:endParaRPr lang="ru-RU" sz="1600" b="1" dirty="0" smtClean="0">
              <a:solidFill>
                <a:srgbClr val="C00000"/>
              </a:solidFill>
            </a:endParaRPr>
          </a:p>
          <a:p>
            <a:r>
              <a:rPr lang="ru-RU" sz="1600" b="1" dirty="0" smtClean="0">
                <a:solidFill>
                  <a:srgbClr val="C00000"/>
                </a:solidFill>
              </a:rPr>
              <a:t>«</a:t>
            </a:r>
            <a:r>
              <a:rPr lang="ru-RU" sz="1600" b="1" dirty="0">
                <a:solidFill>
                  <a:srgbClr val="C00000"/>
                </a:solidFill>
              </a:rPr>
              <a:t>Международные проблемы новой геополитики Арктики»</a:t>
            </a:r>
          </a:p>
          <a:p>
            <a:r>
              <a:rPr lang="ru-RU" sz="1600" b="1" dirty="0" smtClean="0">
                <a:solidFill>
                  <a:srgbClr val="C00000"/>
                </a:solidFill>
              </a:rPr>
              <a:t>25 ноября 2025 </a:t>
            </a:r>
            <a:r>
              <a:rPr lang="ru-RU" sz="1600" b="1" dirty="0" smtClean="0">
                <a:solidFill>
                  <a:srgbClr val="C00000"/>
                </a:solidFill>
              </a:rPr>
              <a:t>г.</a:t>
            </a:r>
            <a:endParaRPr lang="ru-RU" sz="1600" b="1" dirty="0">
              <a:solidFill>
                <a:srgbClr val="C00000"/>
              </a:solidFill>
            </a:endParaRPr>
          </a:p>
        </p:txBody>
      </p:sp>
      <p:sp>
        <p:nvSpPr>
          <p:cNvPr id="7" name="AutoShape 4" descr="https://avatars.mds.yandex.net/i?id=b41b71bda78b9c8e89da35589738a0a6_sr-4571312-images-thumbs&amp;n=13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/>
          <a:srcRect l="31106" t="14175" r="31882" b="14163"/>
          <a:stretch/>
        </p:blipFill>
        <p:spPr>
          <a:xfrm>
            <a:off x="647564" y="393939"/>
            <a:ext cx="1584176" cy="1533617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7764" y="3857625"/>
            <a:ext cx="4572000" cy="3000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8718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ext Box 3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4081463" y="3457575"/>
            <a:ext cx="893762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Анадырский район</a:t>
            </a:r>
          </a:p>
        </p:txBody>
      </p:sp>
      <p:sp>
        <p:nvSpPr>
          <p:cNvPr id="2052" name="Text Box 4"/>
          <p:cNvSpPr txBox="1"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4932363" y="2212975"/>
            <a:ext cx="995362" cy="120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Шмидтовский район</a:t>
            </a:r>
          </a:p>
        </p:txBody>
      </p:sp>
      <p:sp>
        <p:nvSpPr>
          <p:cNvPr id="2053" name="Text Box 5"/>
          <p:cNvSpPr txBox="1"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1951038" y="2781300"/>
            <a:ext cx="9334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Билибинский район</a:t>
            </a:r>
          </a:p>
        </p:txBody>
      </p:sp>
      <p:sp>
        <p:nvSpPr>
          <p:cNvPr id="2054" name="Line 6"/>
          <p:cNvSpPr>
            <a:spLocks noChangeAspect="1" noChangeShapeType="1"/>
          </p:cNvSpPr>
          <p:nvPr>
            <p:custDataLst>
              <p:tags r:id="rId5"/>
            </p:custDataLst>
          </p:nvPr>
        </p:nvSpPr>
        <p:spPr bwMode="auto">
          <a:xfrm>
            <a:off x="5624513" y="3141663"/>
            <a:ext cx="431800" cy="0"/>
          </a:xfrm>
          <a:prstGeom prst="line">
            <a:avLst/>
          </a:prstGeom>
          <a:noFill/>
          <a:ln w="28575">
            <a:solidFill>
              <a:srgbClr val="990099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2055" name="Group 7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5624513" y="4221163"/>
            <a:ext cx="576262" cy="504825"/>
            <a:chOff x="3584" y="2702"/>
            <a:chExt cx="385" cy="320"/>
          </a:xfrm>
        </p:grpSpPr>
        <p:sp>
          <p:nvSpPr>
            <p:cNvPr id="2159" name="Freeform 8"/>
            <p:cNvSpPr>
              <a:spLocks/>
            </p:cNvSpPr>
            <p:nvPr/>
          </p:nvSpPr>
          <p:spPr bwMode="auto">
            <a:xfrm rot="-1236295">
              <a:off x="3584" y="2702"/>
              <a:ext cx="64" cy="277"/>
            </a:xfrm>
            <a:custGeom>
              <a:avLst/>
              <a:gdLst>
                <a:gd name="T0" fmla="*/ 821 w 54"/>
                <a:gd name="T1" fmla="*/ 0 h 363"/>
                <a:gd name="T2" fmla="*/ 119 w 54"/>
                <a:gd name="T3" fmla="*/ 3 h 363"/>
                <a:gd name="T4" fmla="*/ 119 w 54"/>
                <a:gd name="T5" fmla="*/ 5 h 363"/>
                <a:gd name="T6" fmla="*/ 0 60000 65536"/>
                <a:gd name="T7" fmla="*/ 0 60000 65536"/>
                <a:gd name="T8" fmla="*/ 0 60000 65536"/>
                <a:gd name="T9" fmla="*/ 0 w 54"/>
                <a:gd name="T10" fmla="*/ 0 h 363"/>
                <a:gd name="T11" fmla="*/ 54 w 54"/>
                <a:gd name="T12" fmla="*/ 363 h 36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4" h="363">
                  <a:moveTo>
                    <a:pt x="54" y="0"/>
                  </a:moveTo>
                  <a:cubicBezTo>
                    <a:pt x="35" y="83"/>
                    <a:pt x="16" y="167"/>
                    <a:pt x="8" y="227"/>
                  </a:cubicBezTo>
                  <a:cubicBezTo>
                    <a:pt x="0" y="287"/>
                    <a:pt x="4" y="325"/>
                    <a:pt x="8" y="363"/>
                  </a:cubicBezTo>
                </a:path>
              </a:pathLst>
            </a:custGeom>
            <a:noFill/>
            <a:ln w="28575">
              <a:solidFill>
                <a:srgbClr val="990099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160" name="Line 9"/>
            <p:cNvSpPr>
              <a:spLocks noChangeShapeType="1"/>
            </p:cNvSpPr>
            <p:nvPr/>
          </p:nvSpPr>
          <p:spPr bwMode="auto">
            <a:xfrm flipH="1" flipV="1">
              <a:off x="3651" y="2976"/>
              <a:ext cx="318" cy="46"/>
            </a:xfrm>
            <a:prstGeom prst="line">
              <a:avLst/>
            </a:prstGeom>
            <a:noFill/>
            <a:ln w="28575">
              <a:solidFill>
                <a:srgbClr val="990099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2056" name="Freeform 10"/>
          <p:cNvSpPr>
            <a:spLocks noChangeAspect="1"/>
          </p:cNvSpPr>
          <p:nvPr>
            <p:custDataLst>
              <p:tags r:id="rId7"/>
            </p:custDataLst>
          </p:nvPr>
        </p:nvSpPr>
        <p:spPr bwMode="auto">
          <a:xfrm>
            <a:off x="3494088" y="1484313"/>
            <a:ext cx="1293812" cy="1522412"/>
          </a:xfrm>
          <a:custGeom>
            <a:avLst/>
            <a:gdLst>
              <a:gd name="T0" fmla="*/ 2147483647 w 815"/>
              <a:gd name="T1" fmla="*/ 2147483647 h 953"/>
              <a:gd name="T2" fmla="*/ 2147483647 w 815"/>
              <a:gd name="T3" fmla="*/ 2147483647 h 953"/>
              <a:gd name="T4" fmla="*/ 2147483647 w 815"/>
              <a:gd name="T5" fmla="*/ 2147483647 h 953"/>
              <a:gd name="T6" fmla="*/ 2147483647 w 815"/>
              <a:gd name="T7" fmla="*/ 2147483647 h 953"/>
              <a:gd name="T8" fmla="*/ 2147483647 w 815"/>
              <a:gd name="T9" fmla="*/ 2147483647 h 953"/>
              <a:gd name="T10" fmla="*/ 2147483647 w 815"/>
              <a:gd name="T11" fmla="*/ 2147483647 h 953"/>
              <a:gd name="T12" fmla="*/ 2147483647 w 815"/>
              <a:gd name="T13" fmla="*/ 2147483647 h 953"/>
              <a:gd name="T14" fmla="*/ 2147483647 w 815"/>
              <a:gd name="T15" fmla="*/ 2147483647 h 953"/>
              <a:gd name="T16" fmla="*/ 2147483647 w 815"/>
              <a:gd name="T17" fmla="*/ 2147483647 h 953"/>
              <a:gd name="T18" fmla="*/ 2147483647 w 815"/>
              <a:gd name="T19" fmla="*/ 2147483647 h 953"/>
              <a:gd name="T20" fmla="*/ 2147483647 w 815"/>
              <a:gd name="T21" fmla="*/ 2147483647 h 953"/>
              <a:gd name="T22" fmla="*/ 2147483647 w 815"/>
              <a:gd name="T23" fmla="*/ 2147483647 h 953"/>
              <a:gd name="T24" fmla="*/ 2147483647 w 815"/>
              <a:gd name="T25" fmla="*/ 2147483647 h 953"/>
              <a:gd name="T26" fmla="*/ 2147483647 w 815"/>
              <a:gd name="T27" fmla="*/ 2147483647 h 953"/>
              <a:gd name="T28" fmla="*/ 2147483647 w 815"/>
              <a:gd name="T29" fmla="*/ 2147483647 h 953"/>
              <a:gd name="T30" fmla="*/ 2147483647 w 815"/>
              <a:gd name="T31" fmla="*/ 2147483647 h 953"/>
              <a:gd name="T32" fmla="*/ 2147483647 w 815"/>
              <a:gd name="T33" fmla="*/ 2147483647 h 953"/>
              <a:gd name="T34" fmla="*/ 2147483647 w 815"/>
              <a:gd name="T35" fmla="*/ 2147483647 h 953"/>
              <a:gd name="T36" fmla="*/ 2147483647 w 815"/>
              <a:gd name="T37" fmla="*/ 2147483647 h 953"/>
              <a:gd name="T38" fmla="*/ 2147483647 w 815"/>
              <a:gd name="T39" fmla="*/ 2147483647 h 953"/>
              <a:gd name="T40" fmla="*/ 2147483647 w 815"/>
              <a:gd name="T41" fmla="*/ 2147483647 h 953"/>
              <a:gd name="T42" fmla="*/ 2147483647 w 815"/>
              <a:gd name="T43" fmla="*/ 2147483647 h 953"/>
              <a:gd name="T44" fmla="*/ 2147483647 w 815"/>
              <a:gd name="T45" fmla="*/ 2147483647 h 953"/>
              <a:gd name="T46" fmla="*/ 2147483647 w 815"/>
              <a:gd name="T47" fmla="*/ 2147483647 h 953"/>
              <a:gd name="T48" fmla="*/ 2147483647 w 815"/>
              <a:gd name="T49" fmla="*/ 2147483647 h 953"/>
              <a:gd name="T50" fmla="*/ 2147483647 w 815"/>
              <a:gd name="T51" fmla="*/ 2147483647 h 953"/>
              <a:gd name="T52" fmla="*/ 2147483647 w 815"/>
              <a:gd name="T53" fmla="*/ 2147483647 h 953"/>
              <a:gd name="T54" fmla="*/ 2147483647 w 815"/>
              <a:gd name="T55" fmla="*/ 2147483647 h 953"/>
              <a:gd name="T56" fmla="*/ 2147483647 w 815"/>
              <a:gd name="T57" fmla="*/ 2147483647 h 953"/>
              <a:gd name="T58" fmla="*/ 2147483647 w 815"/>
              <a:gd name="T59" fmla="*/ 2147483647 h 953"/>
              <a:gd name="T60" fmla="*/ 2147483647 w 815"/>
              <a:gd name="T61" fmla="*/ 2147483647 h 953"/>
              <a:gd name="T62" fmla="*/ 2147483647 w 815"/>
              <a:gd name="T63" fmla="*/ 2147483647 h 953"/>
              <a:gd name="T64" fmla="*/ 2147483647 w 815"/>
              <a:gd name="T65" fmla="*/ 2147483647 h 953"/>
              <a:gd name="T66" fmla="*/ 2147483647 w 815"/>
              <a:gd name="T67" fmla="*/ 2147483647 h 953"/>
              <a:gd name="T68" fmla="*/ 2147483647 w 815"/>
              <a:gd name="T69" fmla="*/ 2147483647 h 953"/>
              <a:gd name="T70" fmla="*/ 2147483647 w 815"/>
              <a:gd name="T71" fmla="*/ 2147483647 h 953"/>
              <a:gd name="T72" fmla="*/ 2147483647 w 815"/>
              <a:gd name="T73" fmla="*/ 2147483647 h 953"/>
              <a:gd name="T74" fmla="*/ 2147483647 w 815"/>
              <a:gd name="T75" fmla="*/ 2147483647 h 953"/>
              <a:gd name="T76" fmla="*/ 2147483647 w 815"/>
              <a:gd name="T77" fmla="*/ 2147483647 h 953"/>
              <a:gd name="T78" fmla="*/ 2147483647 w 815"/>
              <a:gd name="T79" fmla="*/ 2147483647 h 953"/>
              <a:gd name="T80" fmla="*/ 2147483647 w 815"/>
              <a:gd name="T81" fmla="*/ 2147483647 h 953"/>
              <a:gd name="T82" fmla="*/ 2147483647 w 815"/>
              <a:gd name="T83" fmla="*/ 2147483647 h 953"/>
              <a:gd name="T84" fmla="*/ 2147483647 w 815"/>
              <a:gd name="T85" fmla="*/ 2147483647 h 953"/>
              <a:gd name="T86" fmla="*/ 2147483647 w 815"/>
              <a:gd name="T87" fmla="*/ 2147483647 h 953"/>
              <a:gd name="T88" fmla="*/ 2147483647 w 815"/>
              <a:gd name="T89" fmla="*/ 2147483647 h 953"/>
              <a:gd name="T90" fmla="*/ 2147483647 w 815"/>
              <a:gd name="T91" fmla="*/ 2147483647 h 953"/>
              <a:gd name="T92" fmla="*/ 2147483647 w 815"/>
              <a:gd name="T93" fmla="*/ 2147483647 h 953"/>
              <a:gd name="T94" fmla="*/ 2147483647 w 815"/>
              <a:gd name="T95" fmla="*/ 2147483647 h 953"/>
              <a:gd name="T96" fmla="*/ 2147483647 w 815"/>
              <a:gd name="T97" fmla="*/ 2147483647 h 953"/>
              <a:gd name="T98" fmla="*/ 2147483647 w 815"/>
              <a:gd name="T99" fmla="*/ 2147483647 h 953"/>
              <a:gd name="T100" fmla="*/ 2147483647 w 815"/>
              <a:gd name="T101" fmla="*/ 2147483647 h 953"/>
              <a:gd name="T102" fmla="*/ 2147483647 w 815"/>
              <a:gd name="T103" fmla="*/ 2147483647 h 953"/>
              <a:gd name="T104" fmla="*/ 2147483647 w 815"/>
              <a:gd name="T105" fmla="*/ 2147483647 h 953"/>
              <a:gd name="T106" fmla="*/ 2147483647 w 815"/>
              <a:gd name="T107" fmla="*/ 2147483647 h 953"/>
              <a:gd name="T108" fmla="*/ 2147483647 w 815"/>
              <a:gd name="T109" fmla="*/ 2147483647 h 95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15"/>
              <a:gd name="T166" fmla="*/ 0 h 953"/>
              <a:gd name="T167" fmla="*/ 815 w 815"/>
              <a:gd name="T168" fmla="*/ 953 h 953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15" h="953">
                <a:moveTo>
                  <a:pt x="20" y="197"/>
                </a:moveTo>
                <a:lnTo>
                  <a:pt x="31" y="185"/>
                </a:lnTo>
                <a:lnTo>
                  <a:pt x="42" y="172"/>
                </a:lnTo>
                <a:lnTo>
                  <a:pt x="52" y="158"/>
                </a:lnTo>
                <a:lnTo>
                  <a:pt x="64" y="143"/>
                </a:lnTo>
                <a:lnTo>
                  <a:pt x="66" y="138"/>
                </a:lnTo>
                <a:lnTo>
                  <a:pt x="69" y="133"/>
                </a:lnTo>
                <a:lnTo>
                  <a:pt x="73" y="131"/>
                </a:lnTo>
                <a:lnTo>
                  <a:pt x="76" y="129"/>
                </a:lnTo>
                <a:lnTo>
                  <a:pt x="79" y="129"/>
                </a:lnTo>
                <a:lnTo>
                  <a:pt x="83" y="129"/>
                </a:lnTo>
                <a:lnTo>
                  <a:pt x="86" y="131"/>
                </a:lnTo>
                <a:lnTo>
                  <a:pt x="91" y="135"/>
                </a:lnTo>
                <a:lnTo>
                  <a:pt x="98" y="141"/>
                </a:lnTo>
                <a:lnTo>
                  <a:pt x="105" y="148"/>
                </a:lnTo>
                <a:lnTo>
                  <a:pt x="111" y="150"/>
                </a:lnTo>
                <a:lnTo>
                  <a:pt x="118" y="151"/>
                </a:lnTo>
                <a:lnTo>
                  <a:pt x="118" y="155"/>
                </a:lnTo>
                <a:lnTo>
                  <a:pt x="118" y="160"/>
                </a:lnTo>
                <a:lnTo>
                  <a:pt x="110" y="163"/>
                </a:lnTo>
                <a:lnTo>
                  <a:pt x="101" y="167"/>
                </a:lnTo>
                <a:lnTo>
                  <a:pt x="115" y="178"/>
                </a:lnTo>
                <a:lnTo>
                  <a:pt x="128" y="192"/>
                </a:lnTo>
                <a:lnTo>
                  <a:pt x="133" y="193"/>
                </a:lnTo>
                <a:lnTo>
                  <a:pt x="138" y="197"/>
                </a:lnTo>
                <a:lnTo>
                  <a:pt x="140" y="200"/>
                </a:lnTo>
                <a:lnTo>
                  <a:pt x="142" y="205"/>
                </a:lnTo>
                <a:lnTo>
                  <a:pt x="142" y="210"/>
                </a:lnTo>
                <a:lnTo>
                  <a:pt x="142" y="217"/>
                </a:lnTo>
                <a:lnTo>
                  <a:pt x="142" y="234"/>
                </a:lnTo>
                <a:lnTo>
                  <a:pt x="142" y="252"/>
                </a:lnTo>
                <a:lnTo>
                  <a:pt x="142" y="269"/>
                </a:lnTo>
                <a:lnTo>
                  <a:pt x="142" y="288"/>
                </a:lnTo>
                <a:lnTo>
                  <a:pt x="142" y="293"/>
                </a:lnTo>
                <a:lnTo>
                  <a:pt x="142" y="296"/>
                </a:lnTo>
                <a:lnTo>
                  <a:pt x="145" y="301"/>
                </a:lnTo>
                <a:lnTo>
                  <a:pt x="148" y="303"/>
                </a:lnTo>
                <a:lnTo>
                  <a:pt x="152" y="305"/>
                </a:lnTo>
                <a:lnTo>
                  <a:pt x="157" y="306"/>
                </a:lnTo>
                <a:lnTo>
                  <a:pt x="164" y="306"/>
                </a:lnTo>
                <a:lnTo>
                  <a:pt x="170" y="305"/>
                </a:lnTo>
                <a:lnTo>
                  <a:pt x="187" y="306"/>
                </a:lnTo>
                <a:lnTo>
                  <a:pt x="202" y="310"/>
                </a:lnTo>
                <a:lnTo>
                  <a:pt x="209" y="313"/>
                </a:lnTo>
                <a:lnTo>
                  <a:pt x="216" y="316"/>
                </a:lnTo>
                <a:lnTo>
                  <a:pt x="221" y="320"/>
                </a:lnTo>
                <a:lnTo>
                  <a:pt x="228" y="327"/>
                </a:lnTo>
                <a:lnTo>
                  <a:pt x="233" y="335"/>
                </a:lnTo>
                <a:lnTo>
                  <a:pt x="238" y="340"/>
                </a:lnTo>
                <a:lnTo>
                  <a:pt x="244" y="342"/>
                </a:lnTo>
                <a:lnTo>
                  <a:pt x="251" y="342"/>
                </a:lnTo>
                <a:lnTo>
                  <a:pt x="258" y="340"/>
                </a:lnTo>
                <a:lnTo>
                  <a:pt x="263" y="342"/>
                </a:lnTo>
                <a:lnTo>
                  <a:pt x="268" y="342"/>
                </a:lnTo>
                <a:lnTo>
                  <a:pt x="271" y="345"/>
                </a:lnTo>
                <a:lnTo>
                  <a:pt x="273" y="348"/>
                </a:lnTo>
                <a:lnTo>
                  <a:pt x="275" y="355"/>
                </a:lnTo>
                <a:lnTo>
                  <a:pt x="276" y="360"/>
                </a:lnTo>
                <a:lnTo>
                  <a:pt x="276" y="369"/>
                </a:lnTo>
                <a:lnTo>
                  <a:pt x="275" y="391"/>
                </a:lnTo>
                <a:lnTo>
                  <a:pt x="276" y="409"/>
                </a:lnTo>
                <a:lnTo>
                  <a:pt x="278" y="416"/>
                </a:lnTo>
                <a:lnTo>
                  <a:pt x="281" y="423"/>
                </a:lnTo>
                <a:lnTo>
                  <a:pt x="285" y="426"/>
                </a:lnTo>
                <a:lnTo>
                  <a:pt x="290" y="428"/>
                </a:lnTo>
                <a:lnTo>
                  <a:pt x="295" y="433"/>
                </a:lnTo>
                <a:lnTo>
                  <a:pt x="300" y="436"/>
                </a:lnTo>
                <a:lnTo>
                  <a:pt x="305" y="439"/>
                </a:lnTo>
                <a:lnTo>
                  <a:pt x="312" y="441"/>
                </a:lnTo>
                <a:lnTo>
                  <a:pt x="323" y="441"/>
                </a:lnTo>
                <a:lnTo>
                  <a:pt x="339" y="439"/>
                </a:lnTo>
                <a:lnTo>
                  <a:pt x="352" y="434"/>
                </a:lnTo>
                <a:lnTo>
                  <a:pt x="366" y="428"/>
                </a:lnTo>
                <a:lnTo>
                  <a:pt x="379" y="421"/>
                </a:lnTo>
                <a:lnTo>
                  <a:pt x="389" y="414"/>
                </a:lnTo>
                <a:lnTo>
                  <a:pt x="401" y="407"/>
                </a:lnTo>
                <a:lnTo>
                  <a:pt x="409" y="399"/>
                </a:lnTo>
                <a:lnTo>
                  <a:pt x="418" y="391"/>
                </a:lnTo>
                <a:lnTo>
                  <a:pt x="426" y="380"/>
                </a:lnTo>
                <a:lnTo>
                  <a:pt x="443" y="360"/>
                </a:lnTo>
                <a:lnTo>
                  <a:pt x="460" y="342"/>
                </a:lnTo>
                <a:lnTo>
                  <a:pt x="460" y="333"/>
                </a:lnTo>
                <a:lnTo>
                  <a:pt x="460" y="325"/>
                </a:lnTo>
                <a:lnTo>
                  <a:pt x="458" y="320"/>
                </a:lnTo>
                <a:lnTo>
                  <a:pt x="456" y="315"/>
                </a:lnTo>
                <a:lnTo>
                  <a:pt x="450" y="308"/>
                </a:lnTo>
                <a:lnTo>
                  <a:pt x="443" y="303"/>
                </a:lnTo>
                <a:lnTo>
                  <a:pt x="445" y="298"/>
                </a:lnTo>
                <a:lnTo>
                  <a:pt x="446" y="293"/>
                </a:lnTo>
                <a:lnTo>
                  <a:pt x="446" y="286"/>
                </a:lnTo>
                <a:lnTo>
                  <a:pt x="445" y="279"/>
                </a:lnTo>
                <a:lnTo>
                  <a:pt x="441" y="263"/>
                </a:lnTo>
                <a:lnTo>
                  <a:pt x="433" y="241"/>
                </a:lnTo>
                <a:lnTo>
                  <a:pt x="428" y="241"/>
                </a:lnTo>
                <a:lnTo>
                  <a:pt x="421" y="241"/>
                </a:lnTo>
                <a:lnTo>
                  <a:pt x="423" y="229"/>
                </a:lnTo>
                <a:lnTo>
                  <a:pt x="423" y="217"/>
                </a:lnTo>
                <a:lnTo>
                  <a:pt x="418" y="214"/>
                </a:lnTo>
                <a:lnTo>
                  <a:pt x="411" y="209"/>
                </a:lnTo>
                <a:lnTo>
                  <a:pt x="409" y="197"/>
                </a:lnTo>
                <a:lnTo>
                  <a:pt x="406" y="185"/>
                </a:lnTo>
                <a:lnTo>
                  <a:pt x="403" y="177"/>
                </a:lnTo>
                <a:lnTo>
                  <a:pt x="398" y="170"/>
                </a:lnTo>
                <a:lnTo>
                  <a:pt x="387" y="168"/>
                </a:lnTo>
                <a:lnTo>
                  <a:pt x="377" y="170"/>
                </a:lnTo>
                <a:lnTo>
                  <a:pt x="369" y="173"/>
                </a:lnTo>
                <a:lnTo>
                  <a:pt x="359" y="180"/>
                </a:lnTo>
                <a:lnTo>
                  <a:pt x="350" y="173"/>
                </a:lnTo>
                <a:lnTo>
                  <a:pt x="345" y="167"/>
                </a:lnTo>
                <a:lnTo>
                  <a:pt x="344" y="156"/>
                </a:lnTo>
                <a:lnTo>
                  <a:pt x="345" y="146"/>
                </a:lnTo>
                <a:lnTo>
                  <a:pt x="335" y="135"/>
                </a:lnTo>
                <a:lnTo>
                  <a:pt x="330" y="126"/>
                </a:lnTo>
                <a:lnTo>
                  <a:pt x="325" y="118"/>
                </a:lnTo>
                <a:lnTo>
                  <a:pt x="325" y="113"/>
                </a:lnTo>
                <a:lnTo>
                  <a:pt x="327" y="109"/>
                </a:lnTo>
                <a:lnTo>
                  <a:pt x="332" y="109"/>
                </a:lnTo>
                <a:lnTo>
                  <a:pt x="339" y="111"/>
                </a:lnTo>
                <a:lnTo>
                  <a:pt x="349" y="114"/>
                </a:lnTo>
                <a:lnTo>
                  <a:pt x="364" y="123"/>
                </a:lnTo>
                <a:lnTo>
                  <a:pt x="379" y="131"/>
                </a:lnTo>
                <a:lnTo>
                  <a:pt x="389" y="131"/>
                </a:lnTo>
                <a:lnTo>
                  <a:pt x="398" y="128"/>
                </a:lnTo>
                <a:lnTo>
                  <a:pt x="401" y="124"/>
                </a:lnTo>
                <a:lnTo>
                  <a:pt x="403" y="119"/>
                </a:lnTo>
                <a:lnTo>
                  <a:pt x="401" y="106"/>
                </a:lnTo>
                <a:lnTo>
                  <a:pt x="394" y="91"/>
                </a:lnTo>
                <a:lnTo>
                  <a:pt x="392" y="76"/>
                </a:lnTo>
                <a:lnTo>
                  <a:pt x="392" y="60"/>
                </a:lnTo>
                <a:lnTo>
                  <a:pt x="392" y="45"/>
                </a:lnTo>
                <a:lnTo>
                  <a:pt x="391" y="30"/>
                </a:lnTo>
                <a:lnTo>
                  <a:pt x="391" y="25"/>
                </a:lnTo>
                <a:lnTo>
                  <a:pt x="389" y="20"/>
                </a:lnTo>
                <a:lnTo>
                  <a:pt x="387" y="18"/>
                </a:lnTo>
                <a:lnTo>
                  <a:pt x="386" y="15"/>
                </a:lnTo>
                <a:lnTo>
                  <a:pt x="379" y="13"/>
                </a:lnTo>
                <a:lnTo>
                  <a:pt x="371" y="13"/>
                </a:lnTo>
                <a:lnTo>
                  <a:pt x="374" y="7"/>
                </a:lnTo>
                <a:lnTo>
                  <a:pt x="376" y="3"/>
                </a:lnTo>
                <a:lnTo>
                  <a:pt x="381" y="2"/>
                </a:lnTo>
                <a:lnTo>
                  <a:pt x="384" y="0"/>
                </a:lnTo>
                <a:lnTo>
                  <a:pt x="389" y="2"/>
                </a:lnTo>
                <a:lnTo>
                  <a:pt x="396" y="5"/>
                </a:lnTo>
                <a:lnTo>
                  <a:pt x="403" y="8"/>
                </a:lnTo>
                <a:lnTo>
                  <a:pt x="409" y="15"/>
                </a:lnTo>
                <a:lnTo>
                  <a:pt x="424" y="12"/>
                </a:lnTo>
                <a:lnTo>
                  <a:pt x="438" y="13"/>
                </a:lnTo>
                <a:lnTo>
                  <a:pt x="448" y="15"/>
                </a:lnTo>
                <a:lnTo>
                  <a:pt x="456" y="20"/>
                </a:lnTo>
                <a:lnTo>
                  <a:pt x="470" y="18"/>
                </a:lnTo>
                <a:lnTo>
                  <a:pt x="485" y="18"/>
                </a:lnTo>
                <a:lnTo>
                  <a:pt x="493" y="20"/>
                </a:lnTo>
                <a:lnTo>
                  <a:pt x="502" y="22"/>
                </a:lnTo>
                <a:lnTo>
                  <a:pt x="510" y="25"/>
                </a:lnTo>
                <a:lnTo>
                  <a:pt x="520" y="30"/>
                </a:lnTo>
                <a:lnTo>
                  <a:pt x="541" y="30"/>
                </a:lnTo>
                <a:lnTo>
                  <a:pt x="557" y="30"/>
                </a:lnTo>
                <a:lnTo>
                  <a:pt x="566" y="30"/>
                </a:lnTo>
                <a:lnTo>
                  <a:pt x="573" y="32"/>
                </a:lnTo>
                <a:lnTo>
                  <a:pt x="578" y="35"/>
                </a:lnTo>
                <a:lnTo>
                  <a:pt x="583" y="39"/>
                </a:lnTo>
                <a:lnTo>
                  <a:pt x="598" y="40"/>
                </a:lnTo>
                <a:lnTo>
                  <a:pt x="611" y="40"/>
                </a:lnTo>
                <a:lnTo>
                  <a:pt x="616" y="40"/>
                </a:lnTo>
                <a:lnTo>
                  <a:pt x="623" y="39"/>
                </a:lnTo>
                <a:lnTo>
                  <a:pt x="628" y="35"/>
                </a:lnTo>
                <a:lnTo>
                  <a:pt x="633" y="32"/>
                </a:lnTo>
                <a:lnTo>
                  <a:pt x="637" y="42"/>
                </a:lnTo>
                <a:lnTo>
                  <a:pt x="640" y="52"/>
                </a:lnTo>
                <a:lnTo>
                  <a:pt x="648" y="59"/>
                </a:lnTo>
                <a:lnTo>
                  <a:pt x="658" y="64"/>
                </a:lnTo>
                <a:lnTo>
                  <a:pt x="670" y="69"/>
                </a:lnTo>
                <a:lnTo>
                  <a:pt x="684" y="72"/>
                </a:lnTo>
                <a:lnTo>
                  <a:pt x="694" y="81"/>
                </a:lnTo>
                <a:lnTo>
                  <a:pt x="702" y="86"/>
                </a:lnTo>
                <a:lnTo>
                  <a:pt x="711" y="98"/>
                </a:lnTo>
                <a:lnTo>
                  <a:pt x="717" y="108"/>
                </a:lnTo>
                <a:lnTo>
                  <a:pt x="722" y="118"/>
                </a:lnTo>
                <a:lnTo>
                  <a:pt x="724" y="128"/>
                </a:lnTo>
                <a:lnTo>
                  <a:pt x="726" y="136"/>
                </a:lnTo>
                <a:lnTo>
                  <a:pt x="726" y="143"/>
                </a:lnTo>
                <a:lnTo>
                  <a:pt x="724" y="150"/>
                </a:lnTo>
                <a:lnTo>
                  <a:pt x="719" y="155"/>
                </a:lnTo>
                <a:lnTo>
                  <a:pt x="732" y="165"/>
                </a:lnTo>
                <a:lnTo>
                  <a:pt x="743" y="175"/>
                </a:lnTo>
                <a:lnTo>
                  <a:pt x="749" y="182"/>
                </a:lnTo>
                <a:lnTo>
                  <a:pt x="753" y="187"/>
                </a:lnTo>
                <a:lnTo>
                  <a:pt x="756" y="195"/>
                </a:lnTo>
                <a:lnTo>
                  <a:pt x="759" y="204"/>
                </a:lnTo>
                <a:lnTo>
                  <a:pt x="764" y="210"/>
                </a:lnTo>
                <a:lnTo>
                  <a:pt x="770" y="217"/>
                </a:lnTo>
                <a:lnTo>
                  <a:pt x="773" y="220"/>
                </a:lnTo>
                <a:lnTo>
                  <a:pt x="778" y="220"/>
                </a:lnTo>
                <a:lnTo>
                  <a:pt x="785" y="220"/>
                </a:lnTo>
                <a:lnTo>
                  <a:pt x="791" y="219"/>
                </a:lnTo>
                <a:lnTo>
                  <a:pt x="795" y="247"/>
                </a:lnTo>
                <a:lnTo>
                  <a:pt x="798" y="278"/>
                </a:lnTo>
                <a:lnTo>
                  <a:pt x="802" y="306"/>
                </a:lnTo>
                <a:lnTo>
                  <a:pt x="807" y="337"/>
                </a:lnTo>
                <a:lnTo>
                  <a:pt x="798" y="350"/>
                </a:lnTo>
                <a:lnTo>
                  <a:pt x="793" y="364"/>
                </a:lnTo>
                <a:lnTo>
                  <a:pt x="790" y="374"/>
                </a:lnTo>
                <a:lnTo>
                  <a:pt x="790" y="384"/>
                </a:lnTo>
                <a:lnTo>
                  <a:pt x="800" y="385"/>
                </a:lnTo>
                <a:lnTo>
                  <a:pt x="810" y="387"/>
                </a:lnTo>
                <a:lnTo>
                  <a:pt x="805" y="409"/>
                </a:lnTo>
                <a:lnTo>
                  <a:pt x="800" y="433"/>
                </a:lnTo>
                <a:lnTo>
                  <a:pt x="807" y="455"/>
                </a:lnTo>
                <a:lnTo>
                  <a:pt x="815" y="476"/>
                </a:lnTo>
                <a:lnTo>
                  <a:pt x="808" y="493"/>
                </a:lnTo>
                <a:lnTo>
                  <a:pt x="802" y="510"/>
                </a:lnTo>
                <a:lnTo>
                  <a:pt x="807" y="519"/>
                </a:lnTo>
                <a:lnTo>
                  <a:pt x="812" y="529"/>
                </a:lnTo>
                <a:lnTo>
                  <a:pt x="812" y="535"/>
                </a:lnTo>
                <a:lnTo>
                  <a:pt x="812" y="540"/>
                </a:lnTo>
                <a:lnTo>
                  <a:pt x="807" y="542"/>
                </a:lnTo>
                <a:lnTo>
                  <a:pt x="803" y="544"/>
                </a:lnTo>
                <a:lnTo>
                  <a:pt x="802" y="554"/>
                </a:lnTo>
                <a:lnTo>
                  <a:pt x="800" y="564"/>
                </a:lnTo>
                <a:lnTo>
                  <a:pt x="796" y="574"/>
                </a:lnTo>
                <a:lnTo>
                  <a:pt x="795" y="584"/>
                </a:lnTo>
                <a:lnTo>
                  <a:pt x="791" y="593"/>
                </a:lnTo>
                <a:lnTo>
                  <a:pt x="788" y="598"/>
                </a:lnTo>
                <a:lnTo>
                  <a:pt x="783" y="603"/>
                </a:lnTo>
                <a:lnTo>
                  <a:pt x="778" y="606"/>
                </a:lnTo>
                <a:lnTo>
                  <a:pt x="773" y="608"/>
                </a:lnTo>
                <a:lnTo>
                  <a:pt x="768" y="608"/>
                </a:lnTo>
                <a:lnTo>
                  <a:pt x="761" y="606"/>
                </a:lnTo>
                <a:lnTo>
                  <a:pt x="756" y="608"/>
                </a:lnTo>
                <a:lnTo>
                  <a:pt x="753" y="613"/>
                </a:lnTo>
                <a:lnTo>
                  <a:pt x="749" y="618"/>
                </a:lnTo>
                <a:lnTo>
                  <a:pt x="748" y="626"/>
                </a:lnTo>
                <a:lnTo>
                  <a:pt x="748" y="636"/>
                </a:lnTo>
                <a:lnTo>
                  <a:pt x="748" y="650"/>
                </a:lnTo>
                <a:lnTo>
                  <a:pt x="751" y="665"/>
                </a:lnTo>
                <a:lnTo>
                  <a:pt x="754" y="672"/>
                </a:lnTo>
                <a:lnTo>
                  <a:pt x="756" y="678"/>
                </a:lnTo>
                <a:lnTo>
                  <a:pt x="756" y="684"/>
                </a:lnTo>
                <a:lnTo>
                  <a:pt x="754" y="689"/>
                </a:lnTo>
                <a:lnTo>
                  <a:pt x="751" y="694"/>
                </a:lnTo>
                <a:lnTo>
                  <a:pt x="746" y="699"/>
                </a:lnTo>
                <a:lnTo>
                  <a:pt x="739" y="704"/>
                </a:lnTo>
                <a:lnTo>
                  <a:pt x="731" y="707"/>
                </a:lnTo>
                <a:lnTo>
                  <a:pt x="711" y="710"/>
                </a:lnTo>
                <a:lnTo>
                  <a:pt x="692" y="717"/>
                </a:lnTo>
                <a:lnTo>
                  <a:pt x="675" y="724"/>
                </a:lnTo>
                <a:lnTo>
                  <a:pt x="662" y="734"/>
                </a:lnTo>
                <a:lnTo>
                  <a:pt x="653" y="737"/>
                </a:lnTo>
                <a:lnTo>
                  <a:pt x="647" y="737"/>
                </a:lnTo>
                <a:lnTo>
                  <a:pt x="640" y="734"/>
                </a:lnTo>
                <a:lnTo>
                  <a:pt x="635" y="727"/>
                </a:lnTo>
                <a:lnTo>
                  <a:pt x="631" y="722"/>
                </a:lnTo>
                <a:lnTo>
                  <a:pt x="630" y="719"/>
                </a:lnTo>
                <a:lnTo>
                  <a:pt x="626" y="719"/>
                </a:lnTo>
                <a:lnTo>
                  <a:pt x="621" y="721"/>
                </a:lnTo>
                <a:lnTo>
                  <a:pt x="618" y="724"/>
                </a:lnTo>
                <a:lnTo>
                  <a:pt x="613" y="729"/>
                </a:lnTo>
                <a:lnTo>
                  <a:pt x="606" y="737"/>
                </a:lnTo>
                <a:lnTo>
                  <a:pt x="600" y="746"/>
                </a:lnTo>
                <a:lnTo>
                  <a:pt x="601" y="766"/>
                </a:lnTo>
                <a:lnTo>
                  <a:pt x="603" y="788"/>
                </a:lnTo>
                <a:lnTo>
                  <a:pt x="588" y="810"/>
                </a:lnTo>
                <a:lnTo>
                  <a:pt x="573" y="833"/>
                </a:lnTo>
                <a:lnTo>
                  <a:pt x="566" y="844"/>
                </a:lnTo>
                <a:lnTo>
                  <a:pt x="557" y="852"/>
                </a:lnTo>
                <a:lnTo>
                  <a:pt x="549" y="859"/>
                </a:lnTo>
                <a:lnTo>
                  <a:pt x="539" y="864"/>
                </a:lnTo>
                <a:lnTo>
                  <a:pt x="519" y="877"/>
                </a:lnTo>
                <a:lnTo>
                  <a:pt x="505" y="887"/>
                </a:lnTo>
                <a:lnTo>
                  <a:pt x="519" y="901"/>
                </a:lnTo>
                <a:lnTo>
                  <a:pt x="525" y="913"/>
                </a:lnTo>
                <a:lnTo>
                  <a:pt x="527" y="918"/>
                </a:lnTo>
                <a:lnTo>
                  <a:pt x="529" y="923"/>
                </a:lnTo>
                <a:lnTo>
                  <a:pt x="527" y="928"/>
                </a:lnTo>
                <a:lnTo>
                  <a:pt x="525" y="931"/>
                </a:lnTo>
                <a:lnTo>
                  <a:pt x="519" y="938"/>
                </a:lnTo>
                <a:lnTo>
                  <a:pt x="510" y="945"/>
                </a:lnTo>
                <a:lnTo>
                  <a:pt x="497" y="948"/>
                </a:lnTo>
                <a:lnTo>
                  <a:pt x="483" y="953"/>
                </a:lnTo>
                <a:lnTo>
                  <a:pt x="456" y="931"/>
                </a:lnTo>
                <a:lnTo>
                  <a:pt x="429" y="909"/>
                </a:lnTo>
                <a:lnTo>
                  <a:pt x="403" y="887"/>
                </a:lnTo>
                <a:lnTo>
                  <a:pt x="376" y="865"/>
                </a:lnTo>
                <a:lnTo>
                  <a:pt x="376" y="854"/>
                </a:lnTo>
                <a:lnTo>
                  <a:pt x="374" y="845"/>
                </a:lnTo>
                <a:lnTo>
                  <a:pt x="371" y="837"/>
                </a:lnTo>
                <a:lnTo>
                  <a:pt x="367" y="832"/>
                </a:lnTo>
                <a:lnTo>
                  <a:pt x="362" y="828"/>
                </a:lnTo>
                <a:lnTo>
                  <a:pt x="355" y="827"/>
                </a:lnTo>
                <a:lnTo>
                  <a:pt x="349" y="827"/>
                </a:lnTo>
                <a:lnTo>
                  <a:pt x="342" y="830"/>
                </a:lnTo>
                <a:lnTo>
                  <a:pt x="330" y="832"/>
                </a:lnTo>
                <a:lnTo>
                  <a:pt x="318" y="833"/>
                </a:lnTo>
                <a:lnTo>
                  <a:pt x="305" y="833"/>
                </a:lnTo>
                <a:lnTo>
                  <a:pt x="293" y="830"/>
                </a:lnTo>
                <a:lnTo>
                  <a:pt x="280" y="827"/>
                </a:lnTo>
                <a:lnTo>
                  <a:pt x="266" y="820"/>
                </a:lnTo>
                <a:lnTo>
                  <a:pt x="251" y="810"/>
                </a:lnTo>
                <a:lnTo>
                  <a:pt x="238" y="798"/>
                </a:lnTo>
                <a:lnTo>
                  <a:pt x="236" y="796"/>
                </a:lnTo>
                <a:lnTo>
                  <a:pt x="236" y="795"/>
                </a:lnTo>
                <a:lnTo>
                  <a:pt x="234" y="793"/>
                </a:lnTo>
                <a:lnTo>
                  <a:pt x="231" y="793"/>
                </a:lnTo>
                <a:lnTo>
                  <a:pt x="224" y="793"/>
                </a:lnTo>
                <a:lnTo>
                  <a:pt x="212" y="795"/>
                </a:lnTo>
                <a:lnTo>
                  <a:pt x="201" y="800"/>
                </a:lnTo>
                <a:lnTo>
                  <a:pt x="190" y="800"/>
                </a:lnTo>
                <a:lnTo>
                  <a:pt x="187" y="800"/>
                </a:lnTo>
                <a:lnTo>
                  <a:pt x="182" y="798"/>
                </a:lnTo>
                <a:lnTo>
                  <a:pt x="179" y="795"/>
                </a:lnTo>
                <a:lnTo>
                  <a:pt x="177" y="793"/>
                </a:lnTo>
                <a:lnTo>
                  <a:pt x="167" y="790"/>
                </a:lnTo>
                <a:lnTo>
                  <a:pt x="157" y="786"/>
                </a:lnTo>
                <a:lnTo>
                  <a:pt x="147" y="783"/>
                </a:lnTo>
                <a:lnTo>
                  <a:pt x="138" y="776"/>
                </a:lnTo>
                <a:lnTo>
                  <a:pt x="130" y="769"/>
                </a:lnTo>
                <a:lnTo>
                  <a:pt x="123" y="761"/>
                </a:lnTo>
                <a:lnTo>
                  <a:pt x="115" y="753"/>
                </a:lnTo>
                <a:lnTo>
                  <a:pt x="108" y="741"/>
                </a:lnTo>
                <a:lnTo>
                  <a:pt x="101" y="741"/>
                </a:lnTo>
                <a:lnTo>
                  <a:pt x="98" y="737"/>
                </a:lnTo>
                <a:lnTo>
                  <a:pt x="93" y="734"/>
                </a:lnTo>
                <a:lnTo>
                  <a:pt x="89" y="731"/>
                </a:lnTo>
                <a:lnTo>
                  <a:pt x="83" y="719"/>
                </a:lnTo>
                <a:lnTo>
                  <a:pt x="76" y="705"/>
                </a:lnTo>
                <a:lnTo>
                  <a:pt x="69" y="697"/>
                </a:lnTo>
                <a:lnTo>
                  <a:pt x="61" y="689"/>
                </a:lnTo>
                <a:lnTo>
                  <a:pt x="56" y="680"/>
                </a:lnTo>
                <a:lnTo>
                  <a:pt x="51" y="672"/>
                </a:lnTo>
                <a:lnTo>
                  <a:pt x="49" y="662"/>
                </a:lnTo>
                <a:lnTo>
                  <a:pt x="47" y="650"/>
                </a:lnTo>
                <a:lnTo>
                  <a:pt x="51" y="638"/>
                </a:lnTo>
                <a:lnTo>
                  <a:pt x="56" y="625"/>
                </a:lnTo>
                <a:lnTo>
                  <a:pt x="56" y="618"/>
                </a:lnTo>
                <a:lnTo>
                  <a:pt x="57" y="611"/>
                </a:lnTo>
                <a:lnTo>
                  <a:pt x="59" y="606"/>
                </a:lnTo>
                <a:lnTo>
                  <a:pt x="64" y="599"/>
                </a:lnTo>
                <a:lnTo>
                  <a:pt x="73" y="588"/>
                </a:lnTo>
                <a:lnTo>
                  <a:pt x="84" y="574"/>
                </a:lnTo>
                <a:lnTo>
                  <a:pt x="88" y="569"/>
                </a:lnTo>
                <a:lnTo>
                  <a:pt x="88" y="566"/>
                </a:lnTo>
                <a:lnTo>
                  <a:pt x="86" y="564"/>
                </a:lnTo>
                <a:lnTo>
                  <a:pt x="83" y="562"/>
                </a:lnTo>
                <a:lnTo>
                  <a:pt x="69" y="564"/>
                </a:lnTo>
                <a:lnTo>
                  <a:pt x="54" y="567"/>
                </a:lnTo>
                <a:lnTo>
                  <a:pt x="46" y="567"/>
                </a:lnTo>
                <a:lnTo>
                  <a:pt x="37" y="567"/>
                </a:lnTo>
                <a:lnTo>
                  <a:pt x="31" y="566"/>
                </a:lnTo>
                <a:lnTo>
                  <a:pt x="26" y="564"/>
                </a:lnTo>
                <a:lnTo>
                  <a:pt x="20" y="559"/>
                </a:lnTo>
                <a:lnTo>
                  <a:pt x="19" y="551"/>
                </a:lnTo>
                <a:lnTo>
                  <a:pt x="20" y="540"/>
                </a:lnTo>
                <a:lnTo>
                  <a:pt x="22" y="527"/>
                </a:lnTo>
                <a:lnTo>
                  <a:pt x="22" y="519"/>
                </a:lnTo>
                <a:lnTo>
                  <a:pt x="22" y="510"/>
                </a:lnTo>
                <a:lnTo>
                  <a:pt x="22" y="502"/>
                </a:lnTo>
                <a:lnTo>
                  <a:pt x="24" y="493"/>
                </a:lnTo>
                <a:lnTo>
                  <a:pt x="27" y="485"/>
                </a:lnTo>
                <a:lnTo>
                  <a:pt x="31" y="476"/>
                </a:lnTo>
                <a:lnTo>
                  <a:pt x="36" y="468"/>
                </a:lnTo>
                <a:lnTo>
                  <a:pt x="42" y="460"/>
                </a:lnTo>
                <a:lnTo>
                  <a:pt x="47" y="456"/>
                </a:lnTo>
                <a:lnTo>
                  <a:pt x="51" y="453"/>
                </a:lnTo>
                <a:lnTo>
                  <a:pt x="56" y="448"/>
                </a:lnTo>
                <a:lnTo>
                  <a:pt x="57" y="443"/>
                </a:lnTo>
                <a:lnTo>
                  <a:pt x="59" y="436"/>
                </a:lnTo>
                <a:lnTo>
                  <a:pt x="59" y="428"/>
                </a:lnTo>
                <a:lnTo>
                  <a:pt x="57" y="419"/>
                </a:lnTo>
                <a:lnTo>
                  <a:pt x="54" y="407"/>
                </a:lnTo>
                <a:lnTo>
                  <a:pt x="46" y="392"/>
                </a:lnTo>
                <a:lnTo>
                  <a:pt x="37" y="375"/>
                </a:lnTo>
                <a:lnTo>
                  <a:pt x="27" y="359"/>
                </a:lnTo>
                <a:lnTo>
                  <a:pt x="19" y="342"/>
                </a:lnTo>
                <a:lnTo>
                  <a:pt x="10" y="342"/>
                </a:lnTo>
                <a:lnTo>
                  <a:pt x="4" y="340"/>
                </a:lnTo>
                <a:lnTo>
                  <a:pt x="0" y="337"/>
                </a:lnTo>
                <a:lnTo>
                  <a:pt x="0" y="332"/>
                </a:lnTo>
                <a:lnTo>
                  <a:pt x="2" y="325"/>
                </a:lnTo>
                <a:lnTo>
                  <a:pt x="7" y="316"/>
                </a:lnTo>
                <a:lnTo>
                  <a:pt x="15" y="308"/>
                </a:lnTo>
                <a:lnTo>
                  <a:pt x="26" y="296"/>
                </a:lnTo>
                <a:lnTo>
                  <a:pt x="34" y="286"/>
                </a:lnTo>
                <a:lnTo>
                  <a:pt x="41" y="276"/>
                </a:lnTo>
                <a:lnTo>
                  <a:pt x="44" y="268"/>
                </a:lnTo>
                <a:lnTo>
                  <a:pt x="47" y="257"/>
                </a:lnTo>
                <a:lnTo>
                  <a:pt x="47" y="247"/>
                </a:lnTo>
                <a:lnTo>
                  <a:pt x="46" y="239"/>
                </a:lnTo>
                <a:lnTo>
                  <a:pt x="42" y="231"/>
                </a:lnTo>
                <a:lnTo>
                  <a:pt x="36" y="222"/>
                </a:lnTo>
                <a:lnTo>
                  <a:pt x="27" y="209"/>
                </a:lnTo>
                <a:lnTo>
                  <a:pt x="20" y="197"/>
                </a:lnTo>
              </a:path>
            </a:pathLst>
          </a:custGeom>
          <a:solidFill>
            <a:srgbClr val="CCECFF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057" name="Freeform 11"/>
          <p:cNvSpPr>
            <a:spLocks noChangeAspect="1"/>
          </p:cNvSpPr>
          <p:nvPr>
            <p:custDataLst>
              <p:tags r:id="rId8"/>
            </p:custDataLst>
          </p:nvPr>
        </p:nvSpPr>
        <p:spPr bwMode="auto">
          <a:xfrm>
            <a:off x="3597275" y="1539875"/>
            <a:ext cx="301625" cy="230188"/>
          </a:xfrm>
          <a:custGeom>
            <a:avLst/>
            <a:gdLst>
              <a:gd name="T0" fmla="*/ 0 w 190"/>
              <a:gd name="T1" fmla="*/ 2147483647 h 144"/>
              <a:gd name="T2" fmla="*/ 2147483647 w 190"/>
              <a:gd name="T3" fmla="*/ 2147483647 h 144"/>
              <a:gd name="T4" fmla="*/ 2147483647 w 190"/>
              <a:gd name="T5" fmla="*/ 2147483647 h 144"/>
              <a:gd name="T6" fmla="*/ 2147483647 w 190"/>
              <a:gd name="T7" fmla="*/ 2147483647 h 144"/>
              <a:gd name="T8" fmla="*/ 2147483647 w 190"/>
              <a:gd name="T9" fmla="*/ 2147483647 h 144"/>
              <a:gd name="T10" fmla="*/ 2147483647 w 190"/>
              <a:gd name="T11" fmla="*/ 2147483647 h 144"/>
              <a:gd name="T12" fmla="*/ 2147483647 w 190"/>
              <a:gd name="T13" fmla="*/ 2147483647 h 144"/>
              <a:gd name="T14" fmla="*/ 2147483647 w 190"/>
              <a:gd name="T15" fmla="*/ 2147483647 h 144"/>
              <a:gd name="T16" fmla="*/ 2147483647 w 190"/>
              <a:gd name="T17" fmla="*/ 2147483647 h 144"/>
              <a:gd name="T18" fmla="*/ 2147483647 w 190"/>
              <a:gd name="T19" fmla="*/ 2147483647 h 144"/>
              <a:gd name="T20" fmla="*/ 2147483647 w 190"/>
              <a:gd name="T21" fmla="*/ 0 h 144"/>
              <a:gd name="T22" fmla="*/ 2147483647 w 190"/>
              <a:gd name="T23" fmla="*/ 2147483647 h 144"/>
              <a:gd name="T24" fmla="*/ 2147483647 w 190"/>
              <a:gd name="T25" fmla="*/ 2147483647 h 144"/>
              <a:gd name="T26" fmla="*/ 2147483647 w 190"/>
              <a:gd name="T27" fmla="*/ 2147483647 h 144"/>
              <a:gd name="T28" fmla="*/ 2147483647 w 190"/>
              <a:gd name="T29" fmla="*/ 2147483647 h 144"/>
              <a:gd name="T30" fmla="*/ 2147483647 w 190"/>
              <a:gd name="T31" fmla="*/ 2147483647 h 144"/>
              <a:gd name="T32" fmla="*/ 2147483647 w 190"/>
              <a:gd name="T33" fmla="*/ 2147483647 h 144"/>
              <a:gd name="T34" fmla="*/ 2147483647 w 190"/>
              <a:gd name="T35" fmla="*/ 2147483647 h 144"/>
              <a:gd name="T36" fmla="*/ 2147483647 w 190"/>
              <a:gd name="T37" fmla="*/ 2147483647 h 144"/>
              <a:gd name="T38" fmla="*/ 2147483647 w 190"/>
              <a:gd name="T39" fmla="*/ 2147483647 h 144"/>
              <a:gd name="T40" fmla="*/ 2147483647 w 190"/>
              <a:gd name="T41" fmla="*/ 2147483647 h 144"/>
              <a:gd name="T42" fmla="*/ 2147483647 w 190"/>
              <a:gd name="T43" fmla="*/ 2147483647 h 144"/>
              <a:gd name="T44" fmla="*/ 2147483647 w 190"/>
              <a:gd name="T45" fmla="*/ 2147483647 h 144"/>
              <a:gd name="T46" fmla="*/ 2147483647 w 190"/>
              <a:gd name="T47" fmla="*/ 2147483647 h 144"/>
              <a:gd name="T48" fmla="*/ 2147483647 w 190"/>
              <a:gd name="T49" fmla="*/ 2147483647 h 144"/>
              <a:gd name="T50" fmla="*/ 2147483647 w 190"/>
              <a:gd name="T51" fmla="*/ 2147483647 h 144"/>
              <a:gd name="T52" fmla="*/ 2147483647 w 190"/>
              <a:gd name="T53" fmla="*/ 2147483647 h 144"/>
              <a:gd name="T54" fmla="*/ 2147483647 w 190"/>
              <a:gd name="T55" fmla="*/ 2147483647 h 144"/>
              <a:gd name="T56" fmla="*/ 2147483647 w 190"/>
              <a:gd name="T57" fmla="*/ 2147483647 h 144"/>
              <a:gd name="T58" fmla="*/ 2147483647 w 190"/>
              <a:gd name="T59" fmla="*/ 2147483647 h 144"/>
              <a:gd name="T60" fmla="*/ 2147483647 w 190"/>
              <a:gd name="T61" fmla="*/ 2147483647 h 144"/>
              <a:gd name="T62" fmla="*/ 2147483647 w 190"/>
              <a:gd name="T63" fmla="*/ 2147483647 h 144"/>
              <a:gd name="T64" fmla="*/ 2147483647 w 190"/>
              <a:gd name="T65" fmla="*/ 2147483647 h 144"/>
              <a:gd name="T66" fmla="*/ 2147483647 w 190"/>
              <a:gd name="T67" fmla="*/ 2147483647 h 144"/>
              <a:gd name="T68" fmla="*/ 2147483647 w 190"/>
              <a:gd name="T69" fmla="*/ 2147483647 h 144"/>
              <a:gd name="T70" fmla="*/ 2147483647 w 190"/>
              <a:gd name="T71" fmla="*/ 2147483647 h 144"/>
              <a:gd name="T72" fmla="*/ 2147483647 w 190"/>
              <a:gd name="T73" fmla="*/ 2147483647 h 144"/>
              <a:gd name="T74" fmla="*/ 2147483647 w 190"/>
              <a:gd name="T75" fmla="*/ 2147483647 h 144"/>
              <a:gd name="T76" fmla="*/ 2147483647 w 190"/>
              <a:gd name="T77" fmla="*/ 2147483647 h 144"/>
              <a:gd name="T78" fmla="*/ 2147483647 w 190"/>
              <a:gd name="T79" fmla="*/ 2147483647 h 144"/>
              <a:gd name="T80" fmla="*/ 2147483647 w 190"/>
              <a:gd name="T81" fmla="*/ 2147483647 h 144"/>
              <a:gd name="T82" fmla="*/ 2147483647 w 190"/>
              <a:gd name="T83" fmla="*/ 2147483647 h 144"/>
              <a:gd name="T84" fmla="*/ 2147483647 w 190"/>
              <a:gd name="T85" fmla="*/ 2147483647 h 144"/>
              <a:gd name="T86" fmla="*/ 2147483647 w 190"/>
              <a:gd name="T87" fmla="*/ 2147483647 h 144"/>
              <a:gd name="T88" fmla="*/ 2147483647 w 190"/>
              <a:gd name="T89" fmla="*/ 2147483647 h 144"/>
              <a:gd name="T90" fmla="*/ 2147483647 w 190"/>
              <a:gd name="T91" fmla="*/ 2147483647 h 144"/>
              <a:gd name="T92" fmla="*/ 0 w 190"/>
              <a:gd name="T93" fmla="*/ 2147483647 h 14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90"/>
              <a:gd name="T142" fmla="*/ 0 h 144"/>
              <a:gd name="T143" fmla="*/ 190 w 190"/>
              <a:gd name="T144" fmla="*/ 144 h 14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90" h="144">
                <a:moveTo>
                  <a:pt x="0" y="67"/>
                </a:moveTo>
                <a:lnTo>
                  <a:pt x="7" y="49"/>
                </a:lnTo>
                <a:lnTo>
                  <a:pt x="15" y="33"/>
                </a:lnTo>
                <a:lnTo>
                  <a:pt x="20" y="27"/>
                </a:lnTo>
                <a:lnTo>
                  <a:pt x="25" y="22"/>
                </a:lnTo>
                <a:lnTo>
                  <a:pt x="30" y="17"/>
                </a:lnTo>
                <a:lnTo>
                  <a:pt x="35" y="13"/>
                </a:lnTo>
                <a:lnTo>
                  <a:pt x="59" y="10"/>
                </a:lnTo>
                <a:lnTo>
                  <a:pt x="77" y="6"/>
                </a:lnTo>
                <a:lnTo>
                  <a:pt x="79" y="3"/>
                </a:lnTo>
                <a:lnTo>
                  <a:pt x="79" y="0"/>
                </a:lnTo>
                <a:lnTo>
                  <a:pt x="89" y="3"/>
                </a:lnTo>
                <a:lnTo>
                  <a:pt x="98" y="6"/>
                </a:lnTo>
                <a:lnTo>
                  <a:pt x="106" y="13"/>
                </a:lnTo>
                <a:lnTo>
                  <a:pt x="116" y="23"/>
                </a:lnTo>
                <a:lnTo>
                  <a:pt x="131" y="28"/>
                </a:lnTo>
                <a:lnTo>
                  <a:pt x="147" y="33"/>
                </a:lnTo>
                <a:lnTo>
                  <a:pt x="162" y="38"/>
                </a:lnTo>
                <a:lnTo>
                  <a:pt x="177" y="43"/>
                </a:lnTo>
                <a:lnTo>
                  <a:pt x="184" y="49"/>
                </a:lnTo>
                <a:lnTo>
                  <a:pt x="189" y="54"/>
                </a:lnTo>
                <a:lnTo>
                  <a:pt x="190" y="60"/>
                </a:lnTo>
                <a:lnTo>
                  <a:pt x="189" y="67"/>
                </a:lnTo>
                <a:lnTo>
                  <a:pt x="187" y="72"/>
                </a:lnTo>
                <a:lnTo>
                  <a:pt x="184" y="77"/>
                </a:lnTo>
                <a:lnTo>
                  <a:pt x="178" y="79"/>
                </a:lnTo>
                <a:lnTo>
                  <a:pt x="173" y="77"/>
                </a:lnTo>
                <a:lnTo>
                  <a:pt x="172" y="99"/>
                </a:lnTo>
                <a:lnTo>
                  <a:pt x="170" y="119"/>
                </a:lnTo>
                <a:lnTo>
                  <a:pt x="172" y="126"/>
                </a:lnTo>
                <a:lnTo>
                  <a:pt x="172" y="133"/>
                </a:lnTo>
                <a:lnTo>
                  <a:pt x="170" y="138"/>
                </a:lnTo>
                <a:lnTo>
                  <a:pt x="167" y="141"/>
                </a:lnTo>
                <a:lnTo>
                  <a:pt x="162" y="143"/>
                </a:lnTo>
                <a:lnTo>
                  <a:pt x="155" y="144"/>
                </a:lnTo>
                <a:lnTo>
                  <a:pt x="147" y="144"/>
                </a:lnTo>
                <a:lnTo>
                  <a:pt x="136" y="144"/>
                </a:lnTo>
                <a:lnTo>
                  <a:pt x="121" y="143"/>
                </a:lnTo>
                <a:lnTo>
                  <a:pt x="106" y="139"/>
                </a:lnTo>
                <a:lnTo>
                  <a:pt x="91" y="134"/>
                </a:lnTo>
                <a:lnTo>
                  <a:pt x="77" y="128"/>
                </a:lnTo>
                <a:lnTo>
                  <a:pt x="66" y="119"/>
                </a:lnTo>
                <a:lnTo>
                  <a:pt x="54" y="111"/>
                </a:lnTo>
                <a:lnTo>
                  <a:pt x="44" y="99"/>
                </a:lnTo>
                <a:lnTo>
                  <a:pt x="35" y="86"/>
                </a:lnTo>
                <a:lnTo>
                  <a:pt x="17" y="75"/>
                </a:lnTo>
                <a:lnTo>
                  <a:pt x="0" y="67"/>
                </a:lnTo>
              </a:path>
            </a:pathLst>
          </a:custGeom>
          <a:solidFill>
            <a:schemeClr val="bg1"/>
          </a:solidFill>
          <a:ln w="3175">
            <a:solidFill>
              <a:srgbClr val="1F1A17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2058" name="Group 12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6659563" y="2606675"/>
            <a:ext cx="1266825" cy="1182688"/>
            <a:chOff x="3206" y="2010"/>
            <a:chExt cx="798" cy="744"/>
          </a:xfrm>
        </p:grpSpPr>
        <p:sp>
          <p:nvSpPr>
            <p:cNvPr id="2156" name="Freeform 13"/>
            <p:cNvSpPr>
              <a:spLocks noChangeAspect="1"/>
            </p:cNvSpPr>
            <p:nvPr/>
          </p:nvSpPr>
          <p:spPr bwMode="auto">
            <a:xfrm>
              <a:off x="3920" y="2535"/>
              <a:ext cx="69" cy="59"/>
            </a:xfrm>
            <a:custGeom>
              <a:avLst/>
              <a:gdLst>
                <a:gd name="T0" fmla="*/ 26 w 69"/>
                <a:gd name="T1" fmla="*/ 44 h 59"/>
                <a:gd name="T2" fmla="*/ 20 w 69"/>
                <a:gd name="T3" fmla="*/ 49 h 59"/>
                <a:gd name="T4" fmla="*/ 13 w 69"/>
                <a:gd name="T5" fmla="*/ 54 h 59"/>
                <a:gd name="T6" fmla="*/ 6 w 69"/>
                <a:gd name="T7" fmla="*/ 59 h 59"/>
                <a:gd name="T8" fmla="*/ 3 w 69"/>
                <a:gd name="T9" fmla="*/ 59 h 59"/>
                <a:gd name="T10" fmla="*/ 0 w 69"/>
                <a:gd name="T11" fmla="*/ 56 h 59"/>
                <a:gd name="T12" fmla="*/ 1 w 69"/>
                <a:gd name="T13" fmla="*/ 47 h 59"/>
                <a:gd name="T14" fmla="*/ 3 w 69"/>
                <a:gd name="T15" fmla="*/ 32 h 59"/>
                <a:gd name="T16" fmla="*/ 5 w 69"/>
                <a:gd name="T17" fmla="*/ 19 h 59"/>
                <a:gd name="T18" fmla="*/ 6 w 69"/>
                <a:gd name="T19" fmla="*/ 12 h 59"/>
                <a:gd name="T20" fmla="*/ 8 w 69"/>
                <a:gd name="T21" fmla="*/ 9 h 59"/>
                <a:gd name="T22" fmla="*/ 13 w 69"/>
                <a:gd name="T23" fmla="*/ 4 h 59"/>
                <a:gd name="T24" fmla="*/ 18 w 69"/>
                <a:gd name="T25" fmla="*/ 0 h 59"/>
                <a:gd name="T26" fmla="*/ 43 w 69"/>
                <a:gd name="T27" fmla="*/ 5 h 59"/>
                <a:gd name="T28" fmla="*/ 69 w 69"/>
                <a:gd name="T29" fmla="*/ 10 h 59"/>
                <a:gd name="T30" fmla="*/ 55 w 69"/>
                <a:gd name="T31" fmla="*/ 24 h 59"/>
                <a:gd name="T32" fmla="*/ 45 w 69"/>
                <a:gd name="T33" fmla="*/ 36 h 59"/>
                <a:gd name="T34" fmla="*/ 40 w 69"/>
                <a:gd name="T35" fmla="*/ 41 h 59"/>
                <a:gd name="T36" fmla="*/ 35 w 69"/>
                <a:gd name="T37" fmla="*/ 42 h 59"/>
                <a:gd name="T38" fmla="*/ 30 w 69"/>
                <a:gd name="T39" fmla="*/ 44 h 59"/>
                <a:gd name="T40" fmla="*/ 26 w 69"/>
                <a:gd name="T41" fmla="*/ 44 h 5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9"/>
                <a:gd name="T64" fmla="*/ 0 h 59"/>
                <a:gd name="T65" fmla="*/ 69 w 69"/>
                <a:gd name="T66" fmla="*/ 59 h 5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9" h="59">
                  <a:moveTo>
                    <a:pt x="26" y="44"/>
                  </a:moveTo>
                  <a:lnTo>
                    <a:pt x="20" y="49"/>
                  </a:lnTo>
                  <a:lnTo>
                    <a:pt x="13" y="54"/>
                  </a:lnTo>
                  <a:lnTo>
                    <a:pt x="6" y="59"/>
                  </a:lnTo>
                  <a:lnTo>
                    <a:pt x="3" y="59"/>
                  </a:lnTo>
                  <a:lnTo>
                    <a:pt x="0" y="56"/>
                  </a:lnTo>
                  <a:lnTo>
                    <a:pt x="1" y="47"/>
                  </a:lnTo>
                  <a:lnTo>
                    <a:pt x="3" y="32"/>
                  </a:lnTo>
                  <a:lnTo>
                    <a:pt x="5" y="19"/>
                  </a:lnTo>
                  <a:lnTo>
                    <a:pt x="6" y="12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8" y="0"/>
                  </a:lnTo>
                  <a:lnTo>
                    <a:pt x="43" y="5"/>
                  </a:lnTo>
                  <a:lnTo>
                    <a:pt x="69" y="10"/>
                  </a:lnTo>
                  <a:lnTo>
                    <a:pt x="55" y="24"/>
                  </a:lnTo>
                  <a:lnTo>
                    <a:pt x="45" y="36"/>
                  </a:lnTo>
                  <a:lnTo>
                    <a:pt x="40" y="41"/>
                  </a:lnTo>
                  <a:lnTo>
                    <a:pt x="35" y="42"/>
                  </a:lnTo>
                  <a:lnTo>
                    <a:pt x="30" y="44"/>
                  </a:lnTo>
                  <a:lnTo>
                    <a:pt x="26" y="44"/>
                  </a:lnTo>
                </a:path>
              </a:pathLst>
            </a:custGeom>
            <a:solidFill>
              <a:srgbClr val="CCECFF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157" name="Freeform 14"/>
            <p:cNvSpPr>
              <a:spLocks noChangeAspect="1"/>
            </p:cNvSpPr>
            <p:nvPr/>
          </p:nvSpPr>
          <p:spPr bwMode="auto">
            <a:xfrm>
              <a:off x="3206" y="2010"/>
              <a:ext cx="798" cy="744"/>
            </a:xfrm>
            <a:custGeom>
              <a:avLst/>
              <a:gdLst>
                <a:gd name="T0" fmla="*/ 717 w 798"/>
                <a:gd name="T1" fmla="*/ 396 h 744"/>
                <a:gd name="T2" fmla="*/ 671 w 798"/>
                <a:gd name="T3" fmla="*/ 411 h 744"/>
                <a:gd name="T4" fmla="*/ 688 w 798"/>
                <a:gd name="T5" fmla="*/ 419 h 744"/>
                <a:gd name="T6" fmla="*/ 729 w 798"/>
                <a:gd name="T7" fmla="*/ 423 h 744"/>
                <a:gd name="T8" fmla="*/ 735 w 798"/>
                <a:gd name="T9" fmla="*/ 485 h 744"/>
                <a:gd name="T10" fmla="*/ 677 w 798"/>
                <a:gd name="T11" fmla="*/ 544 h 744"/>
                <a:gd name="T12" fmla="*/ 646 w 798"/>
                <a:gd name="T13" fmla="*/ 577 h 744"/>
                <a:gd name="T14" fmla="*/ 682 w 798"/>
                <a:gd name="T15" fmla="*/ 557 h 744"/>
                <a:gd name="T16" fmla="*/ 678 w 798"/>
                <a:gd name="T17" fmla="*/ 599 h 744"/>
                <a:gd name="T18" fmla="*/ 692 w 798"/>
                <a:gd name="T19" fmla="*/ 620 h 744"/>
                <a:gd name="T20" fmla="*/ 710 w 798"/>
                <a:gd name="T21" fmla="*/ 609 h 744"/>
                <a:gd name="T22" fmla="*/ 746 w 798"/>
                <a:gd name="T23" fmla="*/ 598 h 744"/>
                <a:gd name="T24" fmla="*/ 796 w 798"/>
                <a:gd name="T25" fmla="*/ 653 h 744"/>
                <a:gd name="T26" fmla="*/ 754 w 798"/>
                <a:gd name="T27" fmla="*/ 680 h 744"/>
                <a:gd name="T28" fmla="*/ 717 w 798"/>
                <a:gd name="T29" fmla="*/ 643 h 744"/>
                <a:gd name="T30" fmla="*/ 687 w 798"/>
                <a:gd name="T31" fmla="*/ 672 h 744"/>
                <a:gd name="T32" fmla="*/ 724 w 798"/>
                <a:gd name="T33" fmla="*/ 689 h 744"/>
                <a:gd name="T34" fmla="*/ 697 w 798"/>
                <a:gd name="T35" fmla="*/ 744 h 744"/>
                <a:gd name="T36" fmla="*/ 633 w 798"/>
                <a:gd name="T37" fmla="*/ 729 h 744"/>
                <a:gd name="T38" fmla="*/ 584 w 798"/>
                <a:gd name="T39" fmla="*/ 729 h 744"/>
                <a:gd name="T40" fmla="*/ 544 w 798"/>
                <a:gd name="T41" fmla="*/ 689 h 744"/>
                <a:gd name="T42" fmla="*/ 446 w 798"/>
                <a:gd name="T43" fmla="*/ 609 h 744"/>
                <a:gd name="T44" fmla="*/ 422 w 798"/>
                <a:gd name="T45" fmla="*/ 638 h 744"/>
                <a:gd name="T46" fmla="*/ 390 w 798"/>
                <a:gd name="T47" fmla="*/ 663 h 744"/>
                <a:gd name="T48" fmla="*/ 330 w 798"/>
                <a:gd name="T49" fmla="*/ 645 h 744"/>
                <a:gd name="T50" fmla="*/ 274 w 798"/>
                <a:gd name="T51" fmla="*/ 615 h 744"/>
                <a:gd name="T52" fmla="*/ 229 w 798"/>
                <a:gd name="T53" fmla="*/ 517 h 744"/>
                <a:gd name="T54" fmla="*/ 222 w 798"/>
                <a:gd name="T55" fmla="*/ 490 h 744"/>
                <a:gd name="T56" fmla="*/ 161 w 798"/>
                <a:gd name="T57" fmla="*/ 480 h 744"/>
                <a:gd name="T58" fmla="*/ 119 w 798"/>
                <a:gd name="T59" fmla="*/ 414 h 744"/>
                <a:gd name="T60" fmla="*/ 99 w 798"/>
                <a:gd name="T61" fmla="*/ 360 h 744"/>
                <a:gd name="T62" fmla="*/ 76 w 798"/>
                <a:gd name="T63" fmla="*/ 284 h 744"/>
                <a:gd name="T64" fmla="*/ 12 w 798"/>
                <a:gd name="T65" fmla="*/ 252 h 744"/>
                <a:gd name="T66" fmla="*/ 60 w 798"/>
                <a:gd name="T67" fmla="*/ 138 h 744"/>
                <a:gd name="T68" fmla="*/ 87 w 798"/>
                <a:gd name="T69" fmla="*/ 74 h 744"/>
                <a:gd name="T70" fmla="*/ 145 w 798"/>
                <a:gd name="T71" fmla="*/ 35 h 744"/>
                <a:gd name="T72" fmla="*/ 172 w 798"/>
                <a:gd name="T73" fmla="*/ 12 h 744"/>
                <a:gd name="T74" fmla="*/ 200 w 798"/>
                <a:gd name="T75" fmla="*/ 5 h 744"/>
                <a:gd name="T76" fmla="*/ 215 w 798"/>
                <a:gd name="T77" fmla="*/ 30 h 744"/>
                <a:gd name="T78" fmla="*/ 214 w 798"/>
                <a:gd name="T79" fmla="*/ 131 h 744"/>
                <a:gd name="T80" fmla="*/ 219 w 798"/>
                <a:gd name="T81" fmla="*/ 204 h 744"/>
                <a:gd name="T82" fmla="*/ 204 w 798"/>
                <a:gd name="T83" fmla="*/ 261 h 744"/>
                <a:gd name="T84" fmla="*/ 257 w 798"/>
                <a:gd name="T85" fmla="*/ 273 h 744"/>
                <a:gd name="T86" fmla="*/ 244 w 798"/>
                <a:gd name="T87" fmla="*/ 322 h 744"/>
                <a:gd name="T88" fmla="*/ 321 w 798"/>
                <a:gd name="T89" fmla="*/ 369 h 744"/>
                <a:gd name="T90" fmla="*/ 380 w 798"/>
                <a:gd name="T91" fmla="*/ 355 h 744"/>
                <a:gd name="T92" fmla="*/ 395 w 798"/>
                <a:gd name="T93" fmla="*/ 303 h 744"/>
                <a:gd name="T94" fmla="*/ 367 w 798"/>
                <a:gd name="T95" fmla="*/ 296 h 744"/>
                <a:gd name="T96" fmla="*/ 390 w 798"/>
                <a:gd name="T97" fmla="*/ 204 h 744"/>
                <a:gd name="T98" fmla="*/ 411 w 798"/>
                <a:gd name="T99" fmla="*/ 237 h 744"/>
                <a:gd name="T100" fmla="*/ 459 w 798"/>
                <a:gd name="T101" fmla="*/ 296 h 744"/>
                <a:gd name="T102" fmla="*/ 503 w 798"/>
                <a:gd name="T103" fmla="*/ 338 h 744"/>
                <a:gd name="T104" fmla="*/ 503 w 798"/>
                <a:gd name="T105" fmla="*/ 386 h 744"/>
                <a:gd name="T106" fmla="*/ 533 w 798"/>
                <a:gd name="T107" fmla="*/ 379 h 744"/>
                <a:gd name="T108" fmla="*/ 535 w 798"/>
                <a:gd name="T109" fmla="*/ 461 h 744"/>
                <a:gd name="T110" fmla="*/ 574 w 798"/>
                <a:gd name="T111" fmla="*/ 443 h 744"/>
                <a:gd name="T112" fmla="*/ 641 w 798"/>
                <a:gd name="T113" fmla="*/ 352 h 744"/>
                <a:gd name="T114" fmla="*/ 705 w 798"/>
                <a:gd name="T115" fmla="*/ 327 h 74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98"/>
                <a:gd name="T175" fmla="*/ 0 h 744"/>
                <a:gd name="T176" fmla="*/ 798 w 798"/>
                <a:gd name="T177" fmla="*/ 744 h 74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98" h="744">
                  <a:moveTo>
                    <a:pt x="705" y="327"/>
                  </a:moveTo>
                  <a:lnTo>
                    <a:pt x="700" y="335"/>
                  </a:lnTo>
                  <a:lnTo>
                    <a:pt x="700" y="347"/>
                  </a:lnTo>
                  <a:lnTo>
                    <a:pt x="702" y="359"/>
                  </a:lnTo>
                  <a:lnTo>
                    <a:pt x="705" y="372"/>
                  </a:lnTo>
                  <a:lnTo>
                    <a:pt x="712" y="382"/>
                  </a:lnTo>
                  <a:lnTo>
                    <a:pt x="720" y="392"/>
                  </a:lnTo>
                  <a:lnTo>
                    <a:pt x="717" y="396"/>
                  </a:lnTo>
                  <a:lnTo>
                    <a:pt x="712" y="399"/>
                  </a:lnTo>
                  <a:lnTo>
                    <a:pt x="708" y="401"/>
                  </a:lnTo>
                  <a:lnTo>
                    <a:pt x="702" y="401"/>
                  </a:lnTo>
                  <a:lnTo>
                    <a:pt x="695" y="399"/>
                  </a:lnTo>
                  <a:lnTo>
                    <a:pt x="688" y="401"/>
                  </a:lnTo>
                  <a:lnTo>
                    <a:pt x="683" y="406"/>
                  </a:lnTo>
                  <a:lnTo>
                    <a:pt x="680" y="412"/>
                  </a:lnTo>
                  <a:lnTo>
                    <a:pt x="671" y="411"/>
                  </a:lnTo>
                  <a:lnTo>
                    <a:pt x="663" y="409"/>
                  </a:lnTo>
                  <a:lnTo>
                    <a:pt x="658" y="416"/>
                  </a:lnTo>
                  <a:lnTo>
                    <a:pt x="655" y="421"/>
                  </a:lnTo>
                  <a:lnTo>
                    <a:pt x="660" y="423"/>
                  </a:lnTo>
                  <a:lnTo>
                    <a:pt x="665" y="423"/>
                  </a:lnTo>
                  <a:lnTo>
                    <a:pt x="671" y="423"/>
                  </a:lnTo>
                  <a:lnTo>
                    <a:pt x="678" y="419"/>
                  </a:lnTo>
                  <a:lnTo>
                    <a:pt x="688" y="419"/>
                  </a:lnTo>
                  <a:lnTo>
                    <a:pt x="700" y="416"/>
                  </a:lnTo>
                  <a:lnTo>
                    <a:pt x="705" y="414"/>
                  </a:lnTo>
                  <a:lnTo>
                    <a:pt x="710" y="411"/>
                  </a:lnTo>
                  <a:lnTo>
                    <a:pt x="715" y="406"/>
                  </a:lnTo>
                  <a:lnTo>
                    <a:pt x="719" y="401"/>
                  </a:lnTo>
                  <a:lnTo>
                    <a:pt x="720" y="407"/>
                  </a:lnTo>
                  <a:lnTo>
                    <a:pt x="720" y="414"/>
                  </a:lnTo>
                  <a:lnTo>
                    <a:pt x="729" y="423"/>
                  </a:lnTo>
                  <a:lnTo>
                    <a:pt x="737" y="429"/>
                  </a:lnTo>
                  <a:lnTo>
                    <a:pt x="742" y="433"/>
                  </a:lnTo>
                  <a:lnTo>
                    <a:pt x="744" y="436"/>
                  </a:lnTo>
                  <a:lnTo>
                    <a:pt x="747" y="441"/>
                  </a:lnTo>
                  <a:lnTo>
                    <a:pt x="747" y="444"/>
                  </a:lnTo>
                  <a:lnTo>
                    <a:pt x="747" y="455"/>
                  </a:lnTo>
                  <a:lnTo>
                    <a:pt x="747" y="465"/>
                  </a:lnTo>
                  <a:lnTo>
                    <a:pt x="735" y="485"/>
                  </a:lnTo>
                  <a:lnTo>
                    <a:pt x="725" y="500"/>
                  </a:lnTo>
                  <a:lnTo>
                    <a:pt x="720" y="505"/>
                  </a:lnTo>
                  <a:lnTo>
                    <a:pt x="717" y="508"/>
                  </a:lnTo>
                  <a:lnTo>
                    <a:pt x="712" y="508"/>
                  </a:lnTo>
                  <a:lnTo>
                    <a:pt x="708" y="508"/>
                  </a:lnTo>
                  <a:lnTo>
                    <a:pt x="698" y="529"/>
                  </a:lnTo>
                  <a:lnTo>
                    <a:pt x="687" y="547"/>
                  </a:lnTo>
                  <a:lnTo>
                    <a:pt x="677" y="544"/>
                  </a:lnTo>
                  <a:lnTo>
                    <a:pt x="668" y="544"/>
                  </a:lnTo>
                  <a:lnTo>
                    <a:pt x="661" y="544"/>
                  </a:lnTo>
                  <a:lnTo>
                    <a:pt x="656" y="545"/>
                  </a:lnTo>
                  <a:lnTo>
                    <a:pt x="650" y="554"/>
                  </a:lnTo>
                  <a:lnTo>
                    <a:pt x="646" y="564"/>
                  </a:lnTo>
                  <a:lnTo>
                    <a:pt x="650" y="566"/>
                  </a:lnTo>
                  <a:lnTo>
                    <a:pt x="651" y="569"/>
                  </a:lnTo>
                  <a:lnTo>
                    <a:pt x="646" y="577"/>
                  </a:lnTo>
                  <a:lnTo>
                    <a:pt x="639" y="586"/>
                  </a:lnTo>
                  <a:lnTo>
                    <a:pt x="641" y="588"/>
                  </a:lnTo>
                  <a:lnTo>
                    <a:pt x="645" y="588"/>
                  </a:lnTo>
                  <a:lnTo>
                    <a:pt x="651" y="579"/>
                  </a:lnTo>
                  <a:lnTo>
                    <a:pt x="658" y="571"/>
                  </a:lnTo>
                  <a:lnTo>
                    <a:pt x="663" y="562"/>
                  </a:lnTo>
                  <a:lnTo>
                    <a:pt x="668" y="552"/>
                  </a:lnTo>
                  <a:lnTo>
                    <a:pt x="682" y="557"/>
                  </a:lnTo>
                  <a:lnTo>
                    <a:pt x="695" y="562"/>
                  </a:lnTo>
                  <a:lnTo>
                    <a:pt x="695" y="571"/>
                  </a:lnTo>
                  <a:lnTo>
                    <a:pt x="697" y="579"/>
                  </a:lnTo>
                  <a:lnTo>
                    <a:pt x="692" y="581"/>
                  </a:lnTo>
                  <a:lnTo>
                    <a:pt x="688" y="581"/>
                  </a:lnTo>
                  <a:lnTo>
                    <a:pt x="688" y="588"/>
                  </a:lnTo>
                  <a:lnTo>
                    <a:pt x="688" y="593"/>
                  </a:lnTo>
                  <a:lnTo>
                    <a:pt x="678" y="599"/>
                  </a:lnTo>
                  <a:lnTo>
                    <a:pt x="668" y="608"/>
                  </a:lnTo>
                  <a:lnTo>
                    <a:pt x="666" y="613"/>
                  </a:lnTo>
                  <a:lnTo>
                    <a:pt x="666" y="620"/>
                  </a:lnTo>
                  <a:lnTo>
                    <a:pt x="677" y="611"/>
                  </a:lnTo>
                  <a:lnTo>
                    <a:pt x="688" y="603"/>
                  </a:lnTo>
                  <a:lnTo>
                    <a:pt x="692" y="603"/>
                  </a:lnTo>
                  <a:lnTo>
                    <a:pt x="697" y="604"/>
                  </a:lnTo>
                  <a:lnTo>
                    <a:pt x="692" y="620"/>
                  </a:lnTo>
                  <a:lnTo>
                    <a:pt x="685" y="635"/>
                  </a:lnTo>
                  <a:lnTo>
                    <a:pt x="690" y="635"/>
                  </a:lnTo>
                  <a:lnTo>
                    <a:pt x="695" y="635"/>
                  </a:lnTo>
                  <a:lnTo>
                    <a:pt x="698" y="626"/>
                  </a:lnTo>
                  <a:lnTo>
                    <a:pt x="700" y="618"/>
                  </a:lnTo>
                  <a:lnTo>
                    <a:pt x="705" y="620"/>
                  </a:lnTo>
                  <a:lnTo>
                    <a:pt x="708" y="621"/>
                  </a:lnTo>
                  <a:lnTo>
                    <a:pt x="710" y="609"/>
                  </a:lnTo>
                  <a:lnTo>
                    <a:pt x="710" y="596"/>
                  </a:lnTo>
                  <a:lnTo>
                    <a:pt x="720" y="598"/>
                  </a:lnTo>
                  <a:lnTo>
                    <a:pt x="730" y="598"/>
                  </a:lnTo>
                  <a:lnTo>
                    <a:pt x="730" y="593"/>
                  </a:lnTo>
                  <a:lnTo>
                    <a:pt x="732" y="591"/>
                  </a:lnTo>
                  <a:lnTo>
                    <a:pt x="735" y="589"/>
                  </a:lnTo>
                  <a:lnTo>
                    <a:pt x="740" y="591"/>
                  </a:lnTo>
                  <a:lnTo>
                    <a:pt x="746" y="598"/>
                  </a:lnTo>
                  <a:lnTo>
                    <a:pt x="749" y="603"/>
                  </a:lnTo>
                  <a:lnTo>
                    <a:pt x="746" y="613"/>
                  </a:lnTo>
                  <a:lnTo>
                    <a:pt x="740" y="621"/>
                  </a:lnTo>
                  <a:lnTo>
                    <a:pt x="754" y="628"/>
                  </a:lnTo>
                  <a:lnTo>
                    <a:pt x="769" y="635"/>
                  </a:lnTo>
                  <a:lnTo>
                    <a:pt x="783" y="641"/>
                  </a:lnTo>
                  <a:lnTo>
                    <a:pt x="796" y="650"/>
                  </a:lnTo>
                  <a:lnTo>
                    <a:pt x="796" y="653"/>
                  </a:lnTo>
                  <a:lnTo>
                    <a:pt x="798" y="658"/>
                  </a:lnTo>
                  <a:lnTo>
                    <a:pt x="786" y="658"/>
                  </a:lnTo>
                  <a:lnTo>
                    <a:pt x="774" y="658"/>
                  </a:lnTo>
                  <a:lnTo>
                    <a:pt x="771" y="665"/>
                  </a:lnTo>
                  <a:lnTo>
                    <a:pt x="767" y="670"/>
                  </a:lnTo>
                  <a:lnTo>
                    <a:pt x="764" y="675"/>
                  </a:lnTo>
                  <a:lnTo>
                    <a:pt x="759" y="677"/>
                  </a:lnTo>
                  <a:lnTo>
                    <a:pt x="754" y="680"/>
                  </a:lnTo>
                  <a:lnTo>
                    <a:pt x="749" y="680"/>
                  </a:lnTo>
                  <a:lnTo>
                    <a:pt x="744" y="680"/>
                  </a:lnTo>
                  <a:lnTo>
                    <a:pt x="737" y="679"/>
                  </a:lnTo>
                  <a:lnTo>
                    <a:pt x="729" y="668"/>
                  </a:lnTo>
                  <a:lnTo>
                    <a:pt x="720" y="658"/>
                  </a:lnTo>
                  <a:lnTo>
                    <a:pt x="719" y="653"/>
                  </a:lnTo>
                  <a:lnTo>
                    <a:pt x="717" y="648"/>
                  </a:lnTo>
                  <a:lnTo>
                    <a:pt x="717" y="643"/>
                  </a:lnTo>
                  <a:lnTo>
                    <a:pt x="719" y="638"/>
                  </a:lnTo>
                  <a:lnTo>
                    <a:pt x="710" y="640"/>
                  </a:lnTo>
                  <a:lnTo>
                    <a:pt x="703" y="643"/>
                  </a:lnTo>
                  <a:lnTo>
                    <a:pt x="702" y="648"/>
                  </a:lnTo>
                  <a:lnTo>
                    <a:pt x="700" y="653"/>
                  </a:lnTo>
                  <a:lnTo>
                    <a:pt x="693" y="660"/>
                  </a:lnTo>
                  <a:lnTo>
                    <a:pt x="687" y="667"/>
                  </a:lnTo>
                  <a:lnTo>
                    <a:pt x="687" y="672"/>
                  </a:lnTo>
                  <a:lnTo>
                    <a:pt x="690" y="677"/>
                  </a:lnTo>
                  <a:lnTo>
                    <a:pt x="693" y="679"/>
                  </a:lnTo>
                  <a:lnTo>
                    <a:pt x="700" y="677"/>
                  </a:lnTo>
                  <a:lnTo>
                    <a:pt x="702" y="672"/>
                  </a:lnTo>
                  <a:lnTo>
                    <a:pt x="702" y="665"/>
                  </a:lnTo>
                  <a:lnTo>
                    <a:pt x="710" y="667"/>
                  </a:lnTo>
                  <a:lnTo>
                    <a:pt x="719" y="668"/>
                  </a:lnTo>
                  <a:lnTo>
                    <a:pt x="724" y="689"/>
                  </a:lnTo>
                  <a:lnTo>
                    <a:pt x="730" y="709"/>
                  </a:lnTo>
                  <a:lnTo>
                    <a:pt x="724" y="716"/>
                  </a:lnTo>
                  <a:lnTo>
                    <a:pt x="717" y="722"/>
                  </a:lnTo>
                  <a:lnTo>
                    <a:pt x="714" y="731"/>
                  </a:lnTo>
                  <a:lnTo>
                    <a:pt x="708" y="739"/>
                  </a:lnTo>
                  <a:lnTo>
                    <a:pt x="705" y="741"/>
                  </a:lnTo>
                  <a:lnTo>
                    <a:pt x="702" y="743"/>
                  </a:lnTo>
                  <a:lnTo>
                    <a:pt x="697" y="744"/>
                  </a:lnTo>
                  <a:lnTo>
                    <a:pt x="692" y="743"/>
                  </a:lnTo>
                  <a:lnTo>
                    <a:pt x="677" y="741"/>
                  </a:lnTo>
                  <a:lnTo>
                    <a:pt x="660" y="739"/>
                  </a:lnTo>
                  <a:lnTo>
                    <a:pt x="655" y="727"/>
                  </a:lnTo>
                  <a:lnTo>
                    <a:pt x="648" y="714"/>
                  </a:lnTo>
                  <a:lnTo>
                    <a:pt x="641" y="719"/>
                  </a:lnTo>
                  <a:lnTo>
                    <a:pt x="636" y="724"/>
                  </a:lnTo>
                  <a:lnTo>
                    <a:pt x="633" y="729"/>
                  </a:lnTo>
                  <a:lnTo>
                    <a:pt x="631" y="736"/>
                  </a:lnTo>
                  <a:lnTo>
                    <a:pt x="618" y="737"/>
                  </a:lnTo>
                  <a:lnTo>
                    <a:pt x="606" y="737"/>
                  </a:lnTo>
                  <a:lnTo>
                    <a:pt x="602" y="736"/>
                  </a:lnTo>
                  <a:lnTo>
                    <a:pt x="597" y="734"/>
                  </a:lnTo>
                  <a:lnTo>
                    <a:pt x="594" y="731"/>
                  </a:lnTo>
                  <a:lnTo>
                    <a:pt x="591" y="726"/>
                  </a:lnTo>
                  <a:lnTo>
                    <a:pt x="584" y="729"/>
                  </a:lnTo>
                  <a:lnTo>
                    <a:pt x="577" y="731"/>
                  </a:lnTo>
                  <a:lnTo>
                    <a:pt x="572" y="731"/>
                  </a:lnTo>
                  <a:lnTo>
                    <a:pt x="567" y="727"/>
                  </a:lnTo>
                  <a:lnTo>
                    <a:pt x="562" y="722"/>
                  </a:lnTo>
                  <a:lnTo>
                    <a:pt x="559" y="716"/>
                  </a:lnTo>
                  <a:lnTo>
                    <a:pt x="555" y="707"/>
                  </a:lnTo>
                  <a:lnTo>
                    <a:pt x="552" y="695"/>
                  </a:lnTo>
                  <a:lnTo>
                    <a:pt x="544" y="689"/>
                  </a:lnTo>
                  <a:lnTo>
                    <a:pt x="532" y="682"/>
                  </a:lnTo>
                  <a:lnTo>
                    <a:pt x="520" y="677"/>
                  </a:lnTo>
                  <a:lnTo>
                    <a:pt x="506" y="672"/>
                  </a:lnTo>
                  <a:lnTo>
                    <a:pt x="478" y="665"/>
                  </a:lnTo>
                  <a:lnTo>
                    <a:pt x="449" y="657"/>
                  </a:lnTo>
                  <a:lnTo>
                    <a:pt x="451" y="638"/>
                  </a:lnTo>
                  <a:lnTo>
                    <a:pt x="451" y="620"/>
                  </a:lnTo>
                  <a:lnTo>
                    <a:pt x="446" y="609"/>
                  </a:lnTo>
                  <a:lnTo>
                    <a:pt x="441" y="603"/>
                  </a:lnTo>
                  <a:lnTo>
                    <a:pt x="436" y="599"/>
                  </a:lnTo>
                  <a:lnTo>
                    <a:pt x="431" y="599"/>
                  </a:lnTo>
                  <a:lnTo>
                    <a:pt x="432" y="618"/>
                  </a:lnTo>
                  <a:lnTo>
                    <a:pt x="432" y="636"/>
                  </a:lnTo>
                  <a:lnTo>
                    <a:pt x="427" y="631"/>
                  </a:lnTo>
                  <a:lnTo>
                    <a:pt x="422" y="626"/>
                  </a:lnTo>
                  <a:lnTo>
                    <a:pt x="422" y="638"/>
                  </a:lnTo>
                  <a:lnTo>
                    <a:pt x="421" y="648"/>
                  </a:lnTo>
                  <a:lnTo>
                    <a:pt x="414" y="643"/>
                  </a:lnTo>
                  <a:lnTo>
                    <a:pt x="405" y="638"/>
                  </a:lnTo>
                  <a:lnTo>
                    <a:pt x="405" y="643"/>
                  </a:lnTo>
                  <a:lnTo>
                    <a:pt x="407" y="650"/>
                  </a:lnTo>
                  <a:lnTo>
                    <a:pt x="404" y="655"/>
                  </a:lnTo>
                  <a:lnTo>
                    <a:pt x="400" y="660"/>
                  </a:lnTo>
                  <a:lnTo>
                    <a:pt x="390" y="663"/>
                  </a:lnTo>
                  <a:lnTo>
                    <a:pt x="380" y="665"/>
                  </a:lnTo>
                  <a:lnTo>
                    <a:pt x="372" y="665"/>
                  </a:lnTo>
                  <a:lnTo>
                    <a:pt x="363" y="665"/>
                  </a:lnTo>
                  <a:lnTo>
                    <a:pt x="355" y="663"/>
                  </a:lnTo>
                  <a:lnTo>
                    <a:pt x="348" y="660"/>
                  </a:lnTo>
                  <a:lnTo>
                    <a:pt x="342" y="657"/>
                  </a:lnTo>
                  <a:lnTo>
                    <a:pt x="335" y="652"/>
                  </a:lnTo>
                  <a:lnTo>
                    <a:pt x="330" y="645"/>
                  </a:lnTo>
                  <a:lnTo>
                    <a:pt x="323" y="640"/>
                  </a:lnTo>
                  <a:lnTo>
                    <a:pt x="315" y="636"/>
                  </a:lnTo>
                  <a:lnTo>
                    <a:pt x="304" y="631"/>
                  </a:lnTo>
                  <a:lnTo>
                    <a:pt x="296" y="633"/>
                  </a:lnTo>
                  <a:lnTo>
                    <a:pt x="288" y="631"/>
                  </a:lnTo>
                  <a:lnTo>
                    <a:pt x="283" y="628"/>
                  </a:lnTo>
                  <a:lnTo>
                    <a:pt x="279" y="625"/>
                  </a:lnTo>
                  <a:lnTo>
                    <a:pt x="274" y="615"/>
                  </a:lnTo>
                  <a:lnTo>
                    <a:pt x="273" y="603"/>
                  </a:lnTo>
                  <a:lnTo>
                    <a:pt x="273" y="583"/>
                  </a:lnTo>
                  <a:lnTo>
                    <a:pt x="274" y="562"/>
                  </a:lnTo>
                  <a:lnTo>
                    <a:pt x="264" y="556"/>
                  </a:lnTo>
                  <a:lnTo>
                    <a:pt x="254" y="549"/>
                  </a:lnTo>
                  <a:lnTo>
                    <a:pt x="249" y="540"/>
                  </a:lnTo>
                  <a:lnTo>
                    <a:pt x="244" y="532"/>
                  </a:lnTo>
                  <a:lnTo>
                    <a:pt x="229" y="517"/>
                  </a:lnTo>
                  <a:lnTo>
                    <a:pt x="214" y="502"/>
                  </a:lnTo>
                  <a:lnTo>
                    <a:pt x="214" y="500"/>
                  </a:lnTo>
                  <a:lnTo>
                    <a:pt x="214" y="497"/>
                  </a:lnTo>
                  <a:lnTo>
                    <a:pt x="224" y="503"/>
                  </a:lnTo>
                  <a:lnTo>
                    <a:pt x="234" y="512"/>
                  </a:lnTo>
                  <a:lnTo>
                    <a:pt x="230" y="503"/>
                  </a:lnTo>
                  <a:lnTo>
                    <a:pt x="227" y="495"/>
                  </a:lnTo>
                  <a:lnTo>
                    <a:pt x="222" y="490"/>
                  </a:lnTo>
                  <a:lnTo>
                    <a:pt x="217" y="485"/>
                  </a:lnTo>
                  <a:lnTo>
                    <a:pt x="217" y="478"/>
                  </a:lnTo>
                  <a:lnTo>
                    <a:pt x="215" y="473"/>
                  </a:lnTo>
                  <a:lnTo>
                    <a:pt x="210" y="476"/>
                  </a:lnTo>
                  <a:lnTo>
                    <a:pt x="205" y="480"/>
                  </a:lnTo>
                  <a:lnTo>
                    <a:pt x="187" y="483"/>
                  </a:lnTo>
                  <a:lnTo>
                    <a:pt x="170" y="481"/>
                  </a:lnTo>
                  <a:lnTo>
                    <a:pt x="161" y="480"/>
                  </a:lnTo>
                  <a:lnTo>
                    <a:pt x="155" y="478"/>
                  </a:lnTo>
                  <a:lnTo>
                    <a:pt x="148" y="475"/>
                  </a:lnTo>
                  <a:lnTo>
                    <a:pt x="141" y="471"/>
                  </a:lnTo>
                  <a:lnTo>
                    <a:pt x="128" y="470"/>
                  </a:lnTo>
                  <a:lnTo>
                    <a:pt x="113" y="468"/>
                  </a:lnTo>
                  <a:lnTo>
                    <a:pt x="116" y="451"/>
                  </a:lnTo>
                  <a:lnTo>
                    <a:pt x="118" y="433"/>
                  </a:lnTo>
                  <a:lnTo>
                    <a:pt x="119" y="414"/>
                  </a:lnTo>
                  <a:lnTo>
                    <a:pt x="119" y="397"/>
                  </a:lnTo>
                  <a:lnTo>
                    <a:pt x="119" y="389"/>
                  </a:lnTo>
                  <a:lnTo>
                    <a:pt x="116" y="380"/>
                  </a:lnTo>
                  <a:lnTo>
                    <a:pt x="113" y="374"/>
                  </a:lnTo>
                  <a:lnTo>
                    <a:pt x="108" y="369"/>
                  </a:lnTo>
                  <a:lnTo>
                    <a:pt x="104" y="367"/>
                  </a:lnTo>
                  <a:lnTo>
                    <a:pt x="101" y="367"/>
                  </a:lnTo>
                  <a:lnTo>
                    <a:pt x="99" y="360"/>
                  </a:lnTo>
                  <a:lnTo>
                    <a:pt x="101" y="347"/>
                  </a:lnTo>
                  <a:lnTo>
                    <a:pt x="103" y="333"/>
                  </a:lnTo>
                  <a:lnTo>
                    <a:pt x="101" y="320"/>
                  </a:lnTo>
                  <a:lnTo>
                    <a:pt x="99" y="311"/>
                  </a:lnTo>
                  <a:lnTo>
                    <a:pt x="96" y="305"/>
                  </a:lnTo>
                  <a:lnTo>
                    <a:pt x="91" y="298"/>
                  </a:lnTo>
                  <a:lnTo>
                    <a:pt x="82" y="291"/>
                  </a:lnTo>
                  <a:lnTo>
                    <a:pt x="76" y="284"/>
                  </a:lnTo>
                  <a:lnTo>
                    <a:pt x="71" y="279"/>
                  </a:lnTo>
                  <a:lnTo>
                    <a:pt x="64" y="274"/>
                  </a:lnTo>
                  <a:lnTo>
                    <a:pt x="57" y="271"/>
                  </a:lnTo>
                  <a:lnTo>
                    <a:pt x="49" y="268"/>
                  </a:lnTo>
                  <a:lnTo>
                    <a:pt x="40" y="268"/>
                  </a:lnTo>
                  <a:lnTo>
                    <a:pt x="32" y="268"/>
                  </a:lnTo>
                  <a:lnTo>
                    <a:pt x="22" y="269"/>
                  </a:lnTo>
                  <a:lnTo>
                    <a:pt x="12" y="252"/>
                  </a:lnTo>
                  <a:lnTo>
                    <a:pt x="2" y="237"/>
                  </a:lnTo>
                  <a:lnTo>
                    <a:pt x="0" y="227"/>
                  </a:lnTo>
                  <a:lnTo>
                    <a:pt x="2" y="217"/>
                  </a:lnTo>
                  <a:lnTo>
                    <a:pt x="5" y="210"/>
                  </a:lnTo>
                  <a:lnTo>
                    <a:pt x="12" y="204"/>
                  </a:lnTo>
                  <a:lnTo>
                    <a:pt x="32" y="178"/>
                  </a:lnTo>
                  <a:lnTo>
                    <a:pt x="50" y="160"/>
                  </a:lnTo>
                  <a:lnTo>
                    <a:pt x="60" y="138"/>
                  </a:lnTo>
                  <a:lnTo>
                    <a:pt x="69" y="118"/>
                  </a:lnTo>
                  <a:lnTo>
                    <a:pt x="71" y="104"/>
                  </a:lnTo>
                  <a:lnTo>
                    <a:pt x="74" y="89"/>
                  </a:lnTo>
                  <a:lnTo>
                    <a:pt x="74" y="82"/>
                  </a:lnTo>
                  <a:lnTo>
                    <a:pt x="76" y="77"/>
                  </a:lnTo>
                  <a:lnTo>
                    <a:pt x="79" y="74"/>
                  </a:lnTo>
                  <a:lnTo>
                    <a:pt x="82" y="74"/>
                  </a:lnTo>
                  <a:lnTo>
                    <a:pt x="87" y="74"/>
                  </a:lnTo>
                  <a:lnTo>
                    <a:pt x="94" y="76"/>
                  </a:lnTo>
                  <a:lnTo>
                    <a:pt x="103" y="74"/>
                  </a:lnTo>
                  <a:lnTo>
                    <a:pt x="113" y="71"/>
                  </a:lnTo>
                  <a:lnTo>
                    <a:pt x="121" y="66"/>
                  </a:lnTo>
                  <a:lnTo>
                    <a:pt x="128" y="60"/>
                  </a:lnTo>
                  <a:lnTo>
                    <a:pt x="134" y="54"/>
                  </a:lnTo>
                  <a:lnTo>
                    <a:pt x="140" y="45"/>
                  </a:lnTo>
                  <a:lnTo>
                    <a:pt x="145" y="35"/>
                  </a:lnTo>
                  <a:lnTo>
                    <a:pt x="150" y="25"/>
                  </a:lnTo>
                  <a:lnTo>
                    <a:pt x="150" y="12"/>
                  </a:lnTo>
                  <a:lnTo>
                    <a:pt x="153" y="5"/>
                  </a:lnTo>
                  <a:lnTo>
                    <a:pt x="155" y="3"/>
                  </a:lnTo>
                  <a:lnTo>
                    <a:pt x="158" y="2"/>
                  </a:lnTo>
                  <a:lnTo>
                    <a:pt x="161" y="3"/>
                  </a:lnTo>
                  <a:lnTo>
                    <a:pt x="166" y="7"/>
                  </a:lnTo>
                  <a:lnTo>
                    <a:pt x="172" y="12"/>
                  </a:lnTo>
                  <a:lnTo>
                    <a:pt x="177" y="15"/>
                  </a:lnTo>
                  <a:lnTo>
                    <a:pt x="178" y="15"/>
                  </a:lnTo>
                  <a:lnTo>
                    <a:pt x="182" y="13"/>
                  </a:lnTo>
                  <a:lnTo>
                    <a:pt x="183" y="12"/>
                  </a:lnTo>
                  <a:lnTo>
                    <a:pt x="187" y="8"/>
                  </a:lnTo>
                  <a:lnTo>
                    <a:pt x="188" y="5"/>
                  </a:lnTo>
                  <a:lnTo>
                    <a:pt x="190" y="0"/>
                  </a:lnTo>
                  <a:lnTo>
                    <a:pt x="200" y="5"/>
                  </a:lnTo>
                  <a:lnTo>
                    <a:pt x="210" y="13"/>
                  </a:lnTo>
                  <a:lnTo>
                    <a:pt x="215" y="15"/>
                  </a:lnTo>
                  <a:lnTo>
                    <a:pt x="219" y="17"/>
                  </a:lnTo>
                  <a:lnTo>
                    <a:pt x="220" y="20"/>
                  </a:lnTo>
                  <a:lnTo>
                    <a:pt x="222" y="23"/>
                  </a:lnTo>
                  <a:lnTo>
                    <a:pt x="220" y="25"/>
                  </a:lnTo>
                  <a:lnTo>
                    <a:pt x="219" y="28"/>
                  </a:lnTo>
                  <a:lnTo>
                    <a:pt x="215" y="30"/>
                  </a:lnTo>
                  <a:lnTo>
                    <a:pt x="212" y="32"/>
                  </a:lnTo>
                  <a:lnTo>
                    <a:pt x="210" y="49"/>
                  </a:lnTo>
                  <a:lnTo>
                    <a:pt x="212" y="67"/>
                  </a:lnTo>
                  <a:lnTo>
                    <a:pt x="214" y="87"/>
                  </a:lnTo>
                  <a:lnTo>
                    <a:pt x="217" y="108"/>
                  </a:lnTo>
                  <a:lnTo>
                    <a:pt x="215" y="116"/>
                  </a:lnTo>
                  <a:lnTo>
                    <a:pt x="214" y="126"/>
                  </a:lnTo>
                  <a:lnTo>
                    <a:pt x="214" y="131"/>
                  </a:lnTo>
                  <a:lnTo>
                    <a:pt x="214" y="136"/>
                  </a:lnTo>
                  <a:lnTo>
                    <a:pt x="217" y="141"/>
                  </a:lnTo>
                  <a:lnTo>
                    <a:pt x="220" y="148"/>
                  </a:lnTo>
                  <a:lnTo>
                    <a:pt x="224" y="162"/>
                  </a:lnTo>
                  <a:lnTo>
                    <a:pt x="224" y="173"/>
                  </a:lnTo>
                  <a:lnTo>
                    <a:pt x="224" y="185"/>
                  </a:lnTo>
                  <a:lnTo>
                    <a:pt x="222" y="195"/>
                  </a:lnTo>
                  <a:lnTo>
                    <a:pt x="219" y="204"/>
                  </a:lnTo>
                  <a:lnTo>
                    <a:pt x="215" y="212"/>
                  </a:lnTo>
                  <a:lnTo>
                    <a:pt x="210" y="219"/>
                  </a:lnTo>
                  <a:lnTo>
                    <a:pt x="204" y="226"/>
                  </a:lnTo>
                  <a:lnTo>
                    <a:pt x="200" y="239"/>
                  </a:lnTo>
                  <a:lnTo>
                    <a:pt x="198" y="247"/>
                  </a:lnTo>
                  <a:lnTo>
                    <a:pt x="198" y="254"/>
                  </a:lnTo>
                  <a:lnTo>
                    <a:pt x="200" y="259"/>
                  </a:lnTo>
                  <a:lnTo>
                    <a:pt x="204" y="261"/>
                  </a:lnTo>
                  <a:lnTo>
                    <a:pt x="207" y="259"/>
                  </a:lnTo>
                  <a:lnTo>
                    <a:pt x="212" y="259"/>
                  </a:lnTo>
                  <a:lnTo>
                    <a:pt x="217" y="256"/>
                  </a:lnTo>
                  <a:lnTo>
                    <a:pt x="230" y="258"/>
                  </a:lnTo>
                  <a:lnTo>
                    <a:pt x="241" y="261"/>
                  </a:lnTo>
                  <a:lnTo>
                    <a:pt x="247" y="264"/>
                  </a:lnTo>
                  <a:lnTo>
                    <a:pt x="254" y="268"/>
                  </a:lnTo>
                  <a:lnTo>
                    <a:pt x="257" y="273"/>
                  </a:lnTo>
                  <a:lnTo>
                    <a:pt x="257" y="278"/>
                  </a:lnTo>
                  <a:lnTo>
                    <a:pt x="256" y="284"/>
                  </a:lnTo>
                  <a:lnTo>
                    <a:pt x="252" y="293"/>
                  </a:lnTo>
                  <a:lnTo>
                    <a:pt x="247" y="301"/>
                  </a:lnTo>
                  <a:lnTo>
                    <a:pt x="242" y="310"/>
                  </a:lnTo>
                  <a:lnTo>
                    <a:pt x="241" y="315"/>
                  </a:lnTo>
                  <a:lnTo>
                    <a:pt x="242" y="320"/>
                  </a:lnTo>
                  <a:lnTo>
                    <a:pt x="244" y="322"/>
                  </a:lnTo>
                  <a:lnTo>
                    <a:pt x="249" y="323"/>
                  </a:lnTo>
                  <a:lnTo>
                    <a:pt x="254" y="322"/>
                  </a:lnTo>
                  <a:lnTo>
                    <a:pt x="262" y="322"/>
                  </a:lnTo>
                  <a:lnTo>
                    <a:pt x="279" y="332"/>
                  </a:lnTo>
                  <a:lnTo>
                    <a:pt x="296" y="343"/>
                  </a:lnTo>
                  <a:lnTo>
                    <a:pt x="304" y="352"/>
                  </a:lnTo>
                  <a:lnTo>
                    <a:pt x="313" y="360"/>
                  </a:lnTo>
                  <a:lnTo>
                    <a:pt x="321" y="369"/>
                  </a:lnTo>
                  <a:lnTo>
                    <a:pt x="328" y="380"/>
                  </a:lnTo>
                  <a:lnTo>
                    <a:pt x="333" y="386"/>
                  </a:lnTo>
                  <a:lnTo>
                    <a:pt x="338" y="389"/>
                  </a:lnTo>
                  <a:lnTo>
                    <a:pt x="343" y="391"/>
                  </a:lnTo>
                  <a:lnTo>
                    <a:pt x="347" y="391"/>
                  </a:lnTo>
                  <a:lnTo>
                    <a:pt x="353" y="387"/>
                  </a:lnTo>
                  <a:lnTo>
                    <a:pt x="358" y="380"/>
                  </a:lnTo>
                  <a:lnTo>
                    <a:pt x="380" y="355"/>
                  </a:lnTo>
                  <a:lnTo>
                    <a:pt x="400" y="330"/>
                  </a:lnTo>
                  <a:lnTo>
                    <a:pt x="405" y="323"/>
                  </a:lnTo>
                  <a:lnTo>
                    <a:pt x="409" y="316"/>
                  </a:lnTo>
                  <a:lnTo>
                    <a:pt x="411" y="310"/>
                  </a:lnTo>
                  <a:lnTo>
                    <a:pt x="411" y="305"/>
                  </a:lnTo>
                  <a:lnTo>
                    <a:pt x="407" y="301"/>
                  </a:lnTo>
                  <a:lnTo>
                    <a:pt x="402" y="301"/>
                  </a:lnTo>
                  <a:lnTo>
                    <a:pt x="395" y="303"/>
                  </a:lnTo>
                  <a:lnTo>
                    <a:pt x="387" y="308"/>
                  </a:lnTo>
                  <a:lnTo>
                    <a:pt x="380" y="311"/>
                  </a:lnTo>
                  <a:lnTo>
                    <a:pt x="375" y="313"/>
                  </a:lnTo>
                  <a:lnTo>
                    <a:pt x="372" y="313"/>
                  </a:lnTo>
                  <a:lnTo>
                    <a:pt x="368" y="311"/>
                  </a:lnTo>
                  <a:lnTo>
                    <a:pt x="367" y="308"/>
                  </a:lnTo>
                  <a:lnTo>
                    <a:pt x="367" y="303"/>
                  </a:lnTo>
                  <a:lnTo>
                    <a:pt x="367" y="296"/>
                  </a:lnTo>
                  <a:lnTo>
                    <a:pt x="368" y="288"/>
                  </a:lnTo>
                  <a:lnTo>
                    <a:pt x="370" y="263"/>
                  </a:lnTo>
                  <a:lnTo>
                    <a:pt x="372" y="239"/>
                  </a:lnTo>
                  <a:lnTo>
                    <a:pt x="374" y="227"/>
                  </a:lnTo>
                  <a:lnTo>
                    <a:pt x="377" y="219"/>
                  </a:lnTo>
                  <a:lnTo>
                    <a:pt x="382" y="214"/>
                  </a:lnTo>
                  <a:lnTo>
                    <a:pt x="389" y="210"/>
                  </a:lnTo>
                  <a:lnTo>
                    <a:pt x="390" y="204"/>
                  </a:lnTo>
                  <a:lnTo>
                    <a:pt x="394" y="199"/>
                  </a:lnTo>
                  <a:lnTo>
                    <a:pt x="395" y="197"/>
                  </a:lnTo>
                  <a:lnTo>
                    <a:pt x="399" y="195"/>
                  </a:lnTo>
                  <a:lnTo>
                    <a:pt x="400" y="199"/>
                  </a:lnTo>
                  <a:lnTo>
                    <a:pt x="404" y="202"/>
                  </a:lnTo>
                  <a:lnTo>
                    <a:pt x="405" y="210"/>
                  </a:lnTo>
                  <a:lnTo>
                    <a:pt x="409" y="219"/>
                  </a:lnTo>
                  <a:lnTo>
                    <a:pt x="411" y="237"/>
                  </a:lnTo>
                  <a:lnTo>
                    <a:pt x="414" y="252"/>
                  </a:lnTo>
                  <a:lnTo>
                    <a:pt x="417" y="264"/>
                  </a:lnTo>
                  <a:lnTo>
                    <a:pt x="424" y="274"/>
                  </a:lnTo>
                  <a:lnTo>
                    <a:pt x="431" y="281"/>
                  </a:lnTo>
                  <a:lnTo>
                    <a:pt x="437" y="286"/>
                  </a:lnTo>
                  <a:lnTo>
                    <a:pt x="448" y="288"/>
                  </a:lnTo>
                  <a:lnTo>
                    <a:pt x="458" y="288"/>
                  </a:lnTo>
                  <a:lnTo>
                    <a:pt x="459" y="296"/>
                  </a:lnTo>
                  <a:lnTo>
                    <a:pt x="464" y="305"/>
                  </a:lnTo>
                  <a:lnTo>
                    <a:pt x="469" y="308"/>
                  </a:lnTo>
                  <a:lnTo>
                    <a:pt x="475" y="310"/>
                  </a:lnTo>
                  <a:lnTo>
                    <a:pt x="481" y="311"/>
                  </a:lnTo>
                  <a:lnTo>
                    <a:pt x="490" y="313"/>
                  </a:lnTo>
                  <a:lnTo>
                    <a:pt x="495" y="325"/>
                  </a:lnTo>
                  <a:lnTo>
                    <a:pt x="500" y="335"/>
                  </a:lnTo>
                  <a:lnTo>
                    <a:pt x="503" y="338"/>
                  </a:lnTo>
                  <a:lnTo>
                    <a:pt x="506" y="342"/>
                  </a:lnTo>
                  <a:lnTo>
                    <a:pt x="510" y="345"/>
                  </a:lnTo>
                  <a:lnTo>
                    <a:pt x="513" y="347"/>
                  </a:lnTo>
                  <a:lnTo>
                    <a:pt x="510" y="359"/>
                  </a:lnTo>
                  <a:lnTo>
                    <a:pt x="505" y="370"/>
                  </a:lnTo>
                  <a:lnTo>
                    <a:pt x="503" y="377"/>
                  </a:lnTo>
                  <a:lnTo>
                    <a:pt x="503" y="382"/>
                  </a:lnTo>
                  <a:lnTo>
                    <a:pt x="503" y="386"/>
                  </a:lnTo>
                  <a:lnTo>
                    <a:pt x="505" y="389"/>
                  </a:lnTo>
                  <a:lnTo>
                    <a:pt x="508" y="389"/>
                  </a:lnTo>
                  <a:lnTo>
                    <a:pt x="512" y="389"/>
                  </a:lnTo>
                  <a:lnTo>
                    <a:pt x="517" y="389"/>
                  </a:lnTo>
                  <a:lnTo>
                    <a:pt x="522" y="386"/>
                  </a:lnTo>
                  <a:lnTo>
                    <a:pt x="527" y="382"/>
                  </a:lnTo>
                  <a:lnTo>
                    <a:pt x="530" y="379"/>
                  </a:lnTo>
                  <a:lnTo>
                    <a:pt x="533" y="379"/>
                  </a:lnTo>
                  <a:lnTo>
                    <a:pt x="535" y="380"/>
                  </a:lnTo>
                  <a:lnTo>
                    <a:pt x="537" y="384"/>
                  </a:lnTo>
                  <a:lnTo>
                    <a:pt x="538" y="389"/>
                  </a:lnTo>
                  <a:lnTo>
                    <a:pt x="537" y="394"/>
                  </a:lnTo>
                  <a:lnTo>
                    <a:pt x="537" y="402"/>
                  </a:lnTo>
                  <a:lnTo>
                    <a:pt x="535" y="426"/>
                  </a:lnTo>
                  <a:lnTo>
                    <a:pt x="532" y="451"/>
                  </a:lnTo>
                  <a:lnTo>
                    <a:pt x="535" y="461"/>
                  </a:lnTo>
                  <a:lnTo>
                    <a:pt x="538" y="468"/>
                  </a:lnTo>
                  <a:lnTo>
                    <a:pt x="542" y="473"/>
                  </a:lnTo>
                  <a:lnTo>
                    <a:pt x="545" y="475"/>
                  </a:lnTo>
                  <a:lnTo>
                    <a:pt x="550" y="475"/>
                  </a:lnTo>
                  <a:lnTo>
                    <a:pt x="554" y="470"/>
                  </a:lnTo>
                  <a:lnTo>
                    <a:pt x="559" y="465"/>
                  </a:lnTo>
                  <a:lnTo>
                    <a:pt x="565" y="455"/>
                  </a:lnTo>
                  <a:lnTo>
                    <a:pt x="574" y="443"/>
                  </a:lnTo>
                  <a:lnTo>
                    <a:pt x="582" y="429"/>
                  </a:lnTo>
                  <a:lnTo>
                    <a:pt x="591" y="416"/>
                  </a:lnTo>
                  <a:lnTo>
                    <a:pt x="599" y="404"/>
                  </a:lnTo>
                  <a:lnTo>
                    <a:pt x="611" y="382"/>
                  </a:lnTo>
                  <a:lnTo>
                    <a:pt x="623" y="365"/>
                  </a:lnTo>
                  <a:lnTo>
                    <a:pt x="629" y="360"/>
                  </a:lnTo>
                  <a:lnTo>
                    <a:pt x="634" y="355"/>
                  </a:lnTo>
                  <a:lnTo>
                    <a:pt x="641" y="352"/>
                  </a:lnTo>
                  <a:lnTo>
                    <a:pt x="646" y="350"/>
                  </a:lnTo>
                  <a:lnTo>
                    <a:pt x="658" y="347"/>
                  </a:lnTo>
                  <a:lnTo>
                    <a:pt x="670" y="343"/>
                  </a:lnTo>
                  <a:lnTo>
                    <a:pt x="671" y="347"/>
                  </a:lnTo>
                  <a:lnTo>
                    <a:pt x="680" y="350"/>
                  </a:lnTo>
                  <a:lnTo>
                    <a:pt x="692" y="342"/>
                  </a:lnTo>
                  <a:lnTo>
                    <a:pt x="695" y="332"/>
                  </a:lnTo>
                  <a:lnTo>
                    <a:pt x="705" y="327"/>
                  </a:lnTo>
                  <a:close/>
                </a:path>
              </a:pathLst>
            </a:custGeom>
            <a:solidFill>
              <a:srgbClr val="CCECFF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158" name="Freeform 15"/>
            <p:cNvSpPr>
              <a:spLocks noChangeAspect="1"/>
            </p:cNvSpPr>
            <p:nvPr/>
          </p:nvSpPr>
          <p:spPr bwMode="auto">
            <a:xfrm>
              <a:off x="3920" y="2535"/>
              <a:ext cx="69" cy="59"/>
            </a:xfrm>
            <a:custGeom>
              <a:avLst/>
              <a:gdLst>
                <a:gd name="T0" fmla="*/ 26 w 69"/>
                <a:gd name="T1" fmla="*/ 44 h 59"/>
                <a:gd name="T2" fmla="*/ 20 w 69"/>
                <a:gd name="T3" fmla="*/ 49 h 59"/>
                <a:gd name="T4" fmla="*/ 13 w 69"/>
                <a:gd name="T5" fmla="*/ 54 h 59"/>
                <a:gd name="T6" fmla="*/ 6 w 69"/>
                <a:gd name="T7" fmla="*/ 59 h 59"/>
                <a:gd name="T8" fmla="*/ 3 w 69"/>
                <a:gd name="T9" fmla="*/ 59 h 59"/>
                <a:gd name="T10" fmla="*/ 0 w 69"/>
                <a:gd name="T11" fmla="*/ 56 h 59"/>
                <a:gd name="T12" fmla="*/ 1 w 69"/>
                <a:gd name="T13" fmla="*/ 47 h 59"/>
                <a:gd name="T14" fmla="*/ 3 w 69"/>
                <a:gd name="T15" fmla="*/ 32 h 59"/>
                <a:gd name="T16" fmla="*/ 5 w 69"/>
                <a:gd name="T17" fmla="*/ 19 h 59"/>
                <a:gd name="T18" fmla="*/ 6 w 69"/>
                <a:gd name="T19" fmla="*/ 12 h 59"/>
                <a:gd name="T20" fmla="*/ 8 w 69"/>
                <a:gd name="T21" fmla="*/ 9 h 59"/>
                <a:gd name="T22" fmla="*/ 13 w 69"/>
                <a:gd name="T23" fmla="*/ 4 h 59"/>
                <a:gd name="T24" fmla="*/ 18 w 69"/>
                <a:gd name="T25" fmla="*/ 0 h 59"/>
                <a:gd name="T26" fmla="*/ 43 w 69"/>
                <a:gd name="T27" fmla="*/ 5 h 59"/>
                <a:gd name="T28" fmla="*/ 69 w 69"/>
                <a:gd name="T29" fmla="*/ 10 h 59"/>
                <a:gd name="T30" fmla="*/ 55 w 69"/>
                <a:gd name="T31" fmla="*/ 24 h 59"/>
                <a:gd name="T32" fmla="*/ 45 w 69"/>
                <a:gd name="T33" fmla="*/ 36 h 59"/>
                <a:gd name="T34" fmla="*/ 40 w 69"/>
                <a:gd name="T35" fmla="*/ 41 h 59"/>
                <a:gd name="T36" fmla="*/ 35 w 69"/>
                <a:gd name="T37" fmla="*/ 42 h 59"/>
                <a:gd name="T38" fmla="*/ 30 w 69"/>
                <a:gd name="T39" fmla="*/ 44 h 59"/>
                <a:gd name="T40" fmla="*/ 26 w 69"/>
                <a:gd name="T41" fmla="*/ 44 h 5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9"/>
                <a:gd name="T64" fmla="*/ 0 h 59"/>
                <a:gd name="T65" fmla="*/ 69 w 69"/>
                <a:gd name="T66" fmla="*/ 59 h 5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9" h="59">
                  <a:moveTo>
                    <a:pt x="26" y="44"/>
                  </a:moveTo>
                  <a:lnTo>
                    <a:pt x="20" y="49"/>
                  </a:lnTo>
                  <a:lnTo>
                    <a:pt x="13" y="54"/>
                  </a:lnTo>
                  <a:lnTo>
                    <a:pt x="6" y="59"/>
                  </a:lnTo>
                  <a:lnTo>
                    <a:pt x="3" y="59"/>
                  </a:lnTo>
                  <a:lnTo>
                    <a:pt x="0" y="56"/>
                  </a:lnTo>
                  <a:lnTo>
                    <a:pt x="1" y="47"/>
                  </a:lnTo>
                  <a:lnTo>
                    <a:pt x="3" y="32"/>
                  </a:lnTo>
                  <a:lnTo>
                    <a:pt x="5" y="19"/>
                  </a:lnTo>
                  <a:lnTo>
                    <a:pt x="6" y="12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8" y="0"/>
                  </a:lnTo>
                  <a:lnTo>
                    <a:pt x="43" y="5"/>
                  </a:lnTo>
                  <a:lnTo>
                    <a:pt x="69" y="10"/>
                  </a:lnTo>
                  <a:lnTo>
                    <a:pt x="55" y="24"/>
                  </a:lnTo>
                  <a:lnTo>
                    <a:pt x="45" y="36"/>
                  </a:lnTo>
                  <a:lnTo>
                    <a:pt x="40" y="41"/>
                  </a:lnTo>
                  <a:lnTo>
                    <a:pt x="35" y="42"/>
                  </a:lnTo>
                  <a:lnTo>
                    <a:pt x="30" y="44"/>
                  </a:lnTo>
                  <a:lnTo>
                    <a:pt x="26" y="44"/>
                  </a:lnTo>
                </a:path>
              </a:pathLst>
            </a:custGeom>
            <a:solidFill>
              <a:srgbClr val="CCECFF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2059" name="Freeform 16"/>
          <p:cNvSpPr>
            <a:spLocks noChangeAspect="1"/>
          </p:cNvSpPr>
          <p:nvPr>
            <p:custDataLst>
              <p:tags r:id="rId10"/>
            </p:custDataLst>
          </p:nvPr>
        </p:nvSpPr>
        <p:spPr bwMode="auto">
          <a:xfrm>
            <a:off x="6948488" y="2420938"/>
            <a:ext cx="1193800" cy="969962"/>
          </a:xfrm>
          <a:custGeom>
            <a:avLst/>
            <a:gdLst>
              <a:gd name="T0" fmla="*/ 2147483647 w 754"/>
              <a:gd name="T1" fmla="*/ 2147483647 h 610"/>
              <a:gd name="T2" fmla="*/ 2147483647 w 754"/>
              <a:gd name="T3" fmla="*/ 2147483647 h 610"/>
              <a:gd name="T4" fmla="*/ 2147483647 w 754"/>
              <a:gd name="T5" fmla="*/ 2147483647 h 610"/>
              <a:gd name="T6" fmla="*/ 2147483647 w 754"/>
              <a:gd name="T7" fmla="*/ 2147483647 h 610"/>
              <a:gd name="T8" fmla="*/ 2147483647 w 754"/>
              <a:gd name="T9" fmla="*/ 2147483647 h 610"/>
              <a:gd name="T10" fmla="*/ 2147483647 w 754"/>
              <a:gd name="T11" fmla="*/ 2147483647 h 610"/>
              <a:gd name="T12" fmla="*/ 2147483647 w 754"/>
              <a:gd name="T13" fmla="*/ 2147483647 h 610"/>
              <a:gd name="T14" fmla="*/ 2147483647 w 754"/>
              <a:gd name="T15" fmla="*/ 2147483647 h 610"/>
              <a:gd name="T16" fmla="*/ 2147483647 w 754"/>
              <a:gd name="T17" fmla="*/ 2147483647 h 610"/>
              <a:gd name="T18" fmla="*/ 2147483647 w 754"/>
              <a:gd name="T19" fmla="*/ 2147483647 h 610"/>
              <a:gd name="T20" fmla="*/ 2147483647 w 754"/>
              <a:gd name="T21" fmla="*/ 2147483647 h 610"/>
              <a:gd name="T22" fmla="*/ 2147483647 w 754"/>
              <a:gd name="T23" fmla="*/ 2147483647 h 610"/>
              <a:gd name="T24" fmla="*/ 2147483647 w 754"/>
              <a:gd name="T25" fmla="*/ 2147483647 h 610"/>
              <a:gd name="T26" fmla="*/ 2147483647 w 754"/>
              <a:gd name="T27" fmla="*/ 2147483647 h 610"/>
              <a:gd name="T28" fmla="*/ 2147483647 w 754"/>
              <a:gd name="T29" fmla="*/ 2147483647 h 610"/>
              <a:gd name="T30" fmla="*/ 2147483647 w 754"/>
              <a:gd name="T31" fmla="*/ 2147483647 h 610"/>
              <a:gd name="T32" fmla="*/ 2147483647 w 754"/>
              <a:gd name="T33" fmla="*/ 2147483647 h 610"/>
              <a:gd name="T34" fmla="*/ 2147483647 w 754"/>
              <a:gd name="T35" fmla="*/ 2147483647 h 610"/>
              <a:gd name="T36" fmla="*/ 2147483647 w 754"/>
              <a:gd name="T37" fmla="*/ 2147483647 h 610"/>
              <a:gd name="T38" fmla="*/ 2147483647 w 754"/>
              <a:gd name="T39" fmla="*/ 2147483647 h 610"/>
              <a:gd name="T40" fmla="*/ 2147483647 w 754"/>
              <a:gd name="T41" fmla="*/ 2147483647 h 610"/>
              <a:gd name="T42" fmla="*/ 2147483647 w 754"/>
              <a:gd name="T43" fmla="*/ 2147483647 h 610"/>
              <a:gd name="T44" fmla="*/ 2147483647 w 754"/>
              <a:gd name="T45" fmla="*/ 2147483647 h 610"/>
              <a:gd name="T46" fmla="*/ 2147483647 w 754"/>
              <a:gd name="T47" fmla="*/ 2147483647 h 610"/>
              <a:gd name="T48" fmla="*/ 2147483647 w 754"/>
              <a:gd name="T49" fmla="*/ 2147483647 h 610"/>
              <a:gd name="T50" fmla="*/ 2147483647 w 754"/>
              <a:gd name="T51" fmla="*/ 2147483647 h 610"/>
              <a:gd name="T52" fmla="*/ 2147483647 w 754"/>
              <a:gd name="T53" fmla="*/ 2147483647 h 610"/>
              <a:gd name="T54" fmla="*/ 2147483647 w 754"/>
              <a:gd name="T55" fmla="*/ 2147483647 h 610"/>
              <a:gd name="T56" fmla="*/ 2147483647 w 754"/>
              <a:gd name="T57" fmla="*/ 2147483647 h 610"/>
              <a:gd name="T58" fmla="*/ 2147483647 w 754"/>
              <a:gd name="T59" fmla="*/ 2147483647 h 610"/>
              <a:gd name="T60" fmla="*/ 2147483647 w 754"/>
              <a:gd name="T61" fmla="*/ 2147483647 h 610"/>
              <a:gd name="T62" fmla="*/ 2147483647 w 754"/>
              <a:gd name="T63" fmla="*/ 2147483647 h 610"/>
              <a:gd name="T64" fmla="*/ 2147483647 w 754"/>
              <a:gd name="T65" fmla="*/ 2147483647 h 610"/>
              <a:gd name="T66" fmla="*/ 2147483647 w 754"/>
              <a:gd name="T67" fmla="*/ 2147483647 h 610"/>
              <a:gd name="T68" fmla="*/ 2147483647 w 754"/>
              <a:gd name="T69" fmla="*/ 2147483647 h 610"/>
              <a:gd name="T70" fmla="*/ 2147483647 w 754"/>
              <a:gd name="T71" fmla="*/ 2147483647 h 610"/>
              <a:gd name="T72" fmla="*/ 2147483647 w 754"/>
              <a:gd name="T73" fmla="*/ 2147483647 h 610"/>
              <a:gd name="T74" fmla="*/ 2147483647 w 754"/>
              <a:gd name="T75" fmla="*/ 2147483647 h 610"/>
              <a:gd name="T76" fmla="*/ 2147483647 w 754"/>
              <a:gd name="T77" fmla="*/ 2147483647 h 610"/>
              <a:gd name="T78" fmla="*/ 2147483647 w 754"/>
              <a:gd name="T79" fmla="*/ 2147483647 h 610"/>
              <a:gd name="T80" fmla="*/ 2147483647 w 754"/>
              <a:gd name="T81" fmla="*/ 2147483647 h 610"/>
              <a:gd name="T82" fmla="*/ 2147483647 w 754"/>
              <a:gd name="T83" fmla="*/ 2147483647 h 610"/>
              <a:gd name="T84" fmla="*/ 2147483647 w 754"/>
              <a:gd name="T85" fmla="*/ 2147483647 h 610"/>
              <a:gd name="T86" fmla="*/ 2147483647 w 754"/>
              <a:gd name="T87" fmla="*/ 2147483647 h 610"/>
              <a:gd name="T88" fmla="*/ 2147483647 w 754"/>
              <a:gd name="T89" fmla="*/ 2147483647 h 610"/>
              <a:gd name="T90" fmla="*/ 2147483647 w 754"/>
              <a:gd name="T91" fmla="*/ 2147483647 h 610"/>
              <a:gd name="T92" fmla="*/ 2147483647 w 754"/>
              <a:gd name="T93" fmla="*/ 2147483647 h 610"/>
              <a:gd name="T94" fmla="*/ 2147483647 w 754"/>
              <a:gd name="T95" fmla="*/ 2147483647 h 610"/>
              <a:gd name="T96" fmla="*/ 2147483647 w 754"/>
              <a:gd name="T97" fmla="*/ 2147483647 h 610"/>
              <a:gd name="T98" fmla="*/ 2147483647 w 754"/>
              <a:gd name="T99" fmla="*/ 2147483647 h 610"/>
              <a:gd name="T100" fmla="*/ 2147483647 w 754"/>
              <a:gd name="T101" fmla="*/ 2147483647 h 610"/>
              <a:gd name="T102" fmla="*/ 2147483647 w 754"/>
              <a:gd name="T103" fmla="*/ 2147483647 h 610"/>
              <a:gd name="T104" fmla="*/ 2147483647 w 754"/>
              <a:gd name="T105" fmla="*/ 2147483647 h 610"/>
              <a:gd name="T106" fmla="*/ 2147483647 w 754"/>
              <a:gd name="T107" fmla="*/ 2147483647 h 610"/>
              <a:gd name="T108" fmla="*/ 2147483647 w 754"/>
              <a:gd name="T109" fmla="*/ 2147483647 h 610"/>
              <a:gd name="T110" fmla="*/ 2147483647 w 754"/>
              <a:gd name="T111" fmla="*/ 2147483647 h 61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754"/>
              <a:gd name="T169" fmla="*/ 0 h 610"/>
              <a:gd name="T170" fmla="*/ 754 w 754"/>
              <a:gd name="T171" fmla="*/ 610 h 61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754" h="610">
                <a:moveTo>
                  <a:pt x="52" y="125"/>
                </a:moveTo>
                <a:lnTo>
                  <a:pt x="62" y="148"/>
                </a:lnTo>
                <a:lnTo>
                  <a:pt x="72" y="174"/>
                </a:lnTo>
                <a:lnTo>
                  <a:pt x="64" y="179"/>
                </a:lnTo>
                <a:lnTo>
                  <a:pt x="56" y="182"/>
                </a:lnTo>
                <a:lnTo>
                  <a:pt x="56" y="190"/>
                </a:lnTo>
                <a:lnTo>
                  <a:pt x="56" y="197"/>
                </a:lnTo>
                <a:lnTo>
                  <a:pt x="54" y="204"/>
                </a:lnTo>
                <a:lnTo>
                  <a:pt x="52" y="211"/>
                </a:lnTo>
                <a:lnTo>
                  <a:pt x="59" y="217"/>
                </a:lnTo>
                <a:lnTo>
                  <a:pt x="66" y="224"/>
                </a:lnTo>
                <a:lnTo>
                  <a:pt x="69" y="226"/>
                </a:lnTo>
                <a:lnTo>
                  <a:pt x="74" y="226"/>
                </a:lnTo>
                <a:lnTo>
                  <a:pt x="77" y="226"/>
                </a:lnTo>
                <a:lnTo>
                  <a:pt x="81" y="224"/>
                </a:lnTo>
                <a:lnTo>
                  <a:pt x="89" y="222"/>
                </a:lnTo>
                <a:lnTo>
                  <a:pt x="98" y="222"/>
                </a:lnTo>
                <a:lnTo>
                  <a:pt x="106" y="224"/>
                </a:lnTo>
                <a:lnTo>
                  <a:pt x="113" y="226"/>
                </a:lnTo>
                <a:lnTo>
                  <a:pt x="118" y="229"/>
                </a:lnTo>
                <a:lnTo>
                  <a:pt x="123" y="234"/>
                </a:lnTo>
                <a:lnTo>
                  <a:pt x="125" y="241"/>
                </a:lnTo>
                <a:lnTo>
                  <a:pt x="128" y="249"/>
                </a:lnTo>
                <a:lnTo>
                  <a:pt x="130" y="265"/>
                </a:lnTo>
                <a:lnTo>
                  <a:pt x="135" y="276"/>
                </a:lnTo>
                <a:lnTo>
                  <a:pt x="136" y="281"/>
                </a:lnTo>
                <a:lnTo>
                  <a:pt x="140" y="285"/>
                </a:lnTo>
                <a:lnTo>
                  <a:pt x="145" y="286"/>
                </a:lnTo>
                <a:lnTo>
                  <a:pt x="148" y="288"/>
                </a:lnTo>
                <a:lnTo>
                  <a:pt x="153" y="278"/>
                </a:lnTo>
                <a:lnTo>
                  <a:pt x="158" y="270"/>
                </a:lnTo>
                <a:lnTo>
                  <a:pt x="163" y="263"/>
                </a:lnTo>
                <a:lnTo>
                  <a:pt x="168" y="259"/>
                </a:lnTo>
                <a:lnTo>
                  <a:pt x="163" y="251"/>
                </a:lnTo>
                <a:lnTo>
                  <a:pt x="158" y="243"/>
                </a:lnTo>
                <a:lnTo>
                  <a:pt x="165" y="239"/>
                </a:lnTo>
                <a:lnTo>
                  <a:pt x="172" y="236"/>
                </a:lnTo>
                <a:lnTo>
                  <a:pt x="182" y="234"/>
                </a:lnTo>
                <a:lnTo>
                  <a:pt x="192" y="236"/>
                </a:lnTo>
                <a:lnTo>
                  <a:pt x="192" y="248"/>
                </a:lnTo>
                <a:lnTo>
                  <a:pt x="194" y="259"/>
                </a:lnTo>
                <a:lnTo>
                  <a:pt x="202" y="266"/>
                </a:lnTo>
                <a:lnTo>
                  <a:pt x="209" y="273"/>
                </a:lnTo>
                <a:lnTo>
                  <a:pt x="215" y="270"/>
                </a:lnTo>
                <a:lnTo>
                  <a:pt x="219" y="266"/>
                </a:lnTo>
                <a:lnTo>
                  <a:pt x="222" y="263"/>
                </a:lnTo>
                <a:lnTo>
                  <a:pt x="226" y="258"/>
                </a:lnTo>
                <a:lnTo>
                  <a:pt x="226" y="251"/>
                </a:lnTo>
                <a:lnTo>
                  <a:pt x="226" y="244"/>
                </a:lnTo>
                <a:lnTo>
                  <a:pt x="224" y="238"/>
                </a:lnTo>
                <a:lnTo>
                  <a:pt x="222" y="229"/>
                </a:lnTo>
                <a:lnTo>
                  <a:pt x="215" y="229"/>
                </a:lnTo>
                <a:lnTo>
                  <a:pt x="210" y="226"/>
                </a:lnTo>
                <a:lnTo>
                  <a:pt x="207" y="222"/>
                </a:lnTo>
                <a:lnTo>
                  <a:pt x="205" y="216"/>
                </a:lnTo>
                <a:lnTo>
                  <a:pt x="190" y="216"/>
                </a:lnTo>
                <a:lnTo>
                  <a:pt x="173" y="217"/>
                </a:lnTo>
                <a:lnTo>
                  <a:pt x="158" y="217"/>
                </a:lnTo>
                <a:lnTo>
                  <a:pt x="143" y="217"/>
                </a:lnTo>
                <a:lnTo>
                  <a:pt x="143" y="212"/>
                </a:lnTo>
                <a:lnTo>
                  <a:pt x="145" y="206"/>
                </a:lnTo>
                <a:lnTo>
                  <a:pt x="148" y="201"/>
                </a:lnTo>
                <a:lnTo>
                  <a:pt x="152" y="194"/>
                </a:lnTo>
                <a:lnTo>
                  <a:pt x="163" y="182"/>
                </a:lnTo>
                <a:lnTo>
                  <a:pt x="177" y="172"/>
                </a:lnTo>
                <a:lnTo>
                  <a:pt x="170" y="165"/>
                </a:lnTo>
                <a:lnTo>
                  <a:pt x="165" y="158"/>
                </a:lnTo>
                <a:lnTo>
                  <a:pt x="163" y="150"/>
                </a:lnTo>
                <a:lnTo>
                  <a:pt x="165" y="140"/>
                </a:lnTo>
                <a:lnTo>
                  <a:pt x="155" y="130"/>
                </a:lnTo>
                <a:lnTo>
                  <a:pt x="148" y="121"/>
                </a:lnTo>
                <a:lnTo>
                  <a:pt x="143" y="115"/>
                </a:lnTo>
                <a:lnTo>
                  <a:pt x="141" y="108"/>
                </a:lnTo>
                <a:lnTo>
                  <a:pt x="140" y="96"/>
                </a:lnTo>
                <a:lnTo>
                  <a:pt x="136" y="86"/>
                </a:lnTo>
                <a:lnTo>
                  <a:pt x="121" y="86"/>
                </a:lnTo>
                <a:lnTo>
                  <a:pt x="104" y="88"/>
                </a:lnTo>
                <a:lnTo>
                  <a:pt x="104" y="81"/>
                </a:lnTo>
                <a:lnTo>
                  <a:pt x="104" y="74"/>
                </a:lnTo>
                <a:lnTo>
                  <a:pt x="91" y="78"/>
                </a:lnTo>
                <a:lnTo>
                  <a:pt x="77" y="81"/>
                </a:lnTo>
                <a:lnTo>
                  <a:pt x="66" y="79"/>
                </a:lnTo>
                <a:lnTo>
                  <a:pt x="56" y="78"/>
                </a:lnTo>
                <a:lnTo>
                  <a:pt x="56" y="76"/>
                </a:lnTo>
                <a:lnTo>
                  <a:pt x="57" y="73"/>
                </a:lnTo>
                <a:lnTo>
                  <a:pt x="61" y="71"/>
                </a:lnTo>
                <a:lnTo>
                  <a:pt x="66" y="69"/>
                </a:lnTo>
                <a:lnTo>
                  <a:pt x="76" y="64"/>
                </a:lnTo>
                <a:lnTo>
                  <a:pt x="91" y="59"/>
                </a:lnTo>
                <a:lnTo>
                  <a:pt x="125" y="51"/>
                </a:lnTo>
                <a:lnTo>
                  <a:pt x="162" y="41"/>
                </a:lnTo>
                <a:lnTo>
                  <a:pt x="163" y="32"/>
                </a:lnTo>
                <a:lnTo>
                  <a:pt x="165" y="24"/>
                </a:lnTo>
                <a:lnTo>
                  <a:pt x="173" y="27"/>
                </a:lnTo>
                <a:lnTo>
                  <a:pt x="187" y="27"/>
                </a:lnTo>
                <a:lnTo>
                  <a:pt x="202" y="27"/>
                </a:lnTo>
                <a:lnTo>
                  <a:pt x="217" y="27"/>
                </a:lnTo>
                <a:lnTo>
                  <a:pt x="224" y="36"/>
                </a:lnTo>
                <a:lnTo>
                  <a:pt x="231" y="42"/>
                </a:lnTo>
                <a:lnTo>
                  <a:pt x="236" y="44"/>
                </a:lnTo>
                <a:lnTo>
                  <a:pt x="239" y="44"/>
                </a:lnTo>
                <a:lnTo>
                  <a:pt x="242" y="44"/>
                </a:lnTo>
                <a:lnTo>
                  <a:pt x="246" y="42"/>
                </a:lnTo>
                <a:lnTo>
                  <a:pt x="247" y="47"/>
                </a:lnTo>
                <a:lnTo>
                  <a:pt x="251" y="51"/>
                </a:lnTo>
                <a:lnTo>
                  <a:pt x="254" y="54"/>
                </a:lnTo>
                <a:lnTo>
                  <a:pt x="258" y="57"/>
                </a:lnTo>
                <a:lnTo>
                  <a:pt x="266" y="61"/>
                </a:lnTo>
                <a:lnTo>
                  <a:pt x="276" y="62"/>
                </a:lnTo>
                <a:lnTo>
                  <a:pt x="285" y="61"/>
                </a:lnTo>
                <a:lnTo>
                  <a:pt x="293" y="59"/>
                </a:lnTo>
                <a:lnTo>
                  <a:pt x="300" y="54"/>
                </a:lnTo>
                <a:lnTo>
                  <a:pt x="305" y="47"/>
                </a:lnTo>
                <a:lnTo>
                  <a:pt x="311" y="44"/>
                </a:lnTo>
                <a:lnTo>
                  <a:pt x="320" y="44"/>
                </a:lnTo>
                <a:lnTo>
                  <a:pt x="323" y="42"/>
                </a:lnTo>
                <a:lnTo>
                  <a:pt x="327" y="41"/>
                </a:lnTo>
                <a:lnTo>
                  <a:pt x="327" y="36"/>
                </a:lnTo>
                <a:lnTo>
                  <a:pt x="327" y="29"/>
                </a:lnTo>
                <a:lnTo>
                  <a:pt x="310" y="29"/>
                </a:lnTo>
                <a:lnTo>
                  <a:pt x="293" y="27"/>
                </a:lnTo>
                <a:lnTo>
                  <a:pt x="278" y="25"/>
                </a:lnTo>
                <a:lnTo>
                  <a:pt x="261" y="25"/>
                </a:lnTo>
                <a:lnTo>
                  <a:pt x="253" y="22"/>
                </a:lnTo>
                <a:lnTo>
                  <a:pt x="249" y="20"/>
                </a:lnTo>
                <a:lnTo>
                  <a:pt x="253" y="19"/>
                </a:lnTo>
                <a:lnTo>
                  <a:pt x="259" y="15"/>
                </a:lnTo>
                <a:lnTo>
                  <a:pt x="286" y="15"/>
                </a:lnTo>
                <a:lnTo>
                  <a:pt x="313" y="17"/>
                </a:lnTo>
                <a:lnTo>
                  <a:pt x="340" y="17"/>
                </a:lnTo>
                <a:lnTo>
                  <a:pt x="367" y="17"/>
                </a:lnTo>
                <a:lnTo>
                  <a:pt x="374" y="9"/>
                </a:lnTo>
                <a:lnTo>
                  <a:pt x="380" y="0"/>
                </a:lnTo>
                <a:lnTo>
                  <a:pt x="396" y="2"/>
                </a:lnTo>
                <a:lnTo>
                  <a:pt x="411" y="4"/>
                </a:lnTo>
                <a:lnTo>
                  <a:pt x="416" y="4"/>
                </a:lnTo>
                <a:lnTo>
                  <a:pt x="419" y="4"/>
                </a:lnTo>
                <a:lnTo>
                  <a:pt x="421" y="5"/>
                </a:lnTo>
                <a:lnTo>
                  <a:pt x="423" y="7"/>
                </a:lnTo>
                <a:lnTo>
                  <a:pt x="424" y="12"/>
                </a:lnTo>
                <a:lnTo>
                  <a:pt x="423" y="19"/>
                </a:lnTo>
                <a:lnTo>
                  <a:pt x="424" y="25"/>
                </a:lnTo>
                <a:lnTo>
                  <a:pt x="426" y="30"/>
                </a:lnTo>
                <a:lnTo>
                  <a:pt x="428" y="34"/>
                </a:lnTo>
                <a:lnTo>
                  <a:pt x="433" y="36"/>
                </a:lnTo>
                <a:lnTo>
                  <a:pt x="441" y="39"/>
                </a:lnTo>
                <a:lnTo>
                  <a:pt x="453" y="41"/>
                </a:lnTo>
                <a:lnTo>
                  <a:pt x="460" y="41"/>
                </a:lnTo>
                <a:lnTo>
                  <a:pt x="466" y="41"/>
                </a:lnTo>
                <a:lnTo>
                  <a:pt x="470" y="41"/>
                </a:lnTo>
                <a:lnTo>
                  <a:pt x="473" y="42"/>
                </a:lnTo>
                <a:lnTo>
                  <a:pt x="476" y="46"/>
                </a:lnTo>
                <a:lnTo>
                  <a:pt x="476" y="49"/>
                </a:lnTo>
                <a:lnTo>
                  <a:pt x="476" y="54"/>
                </a:lnTo>
                <a:lnTo>
                  <a:pt x="476" y="59"/>
                </a:lnTo>
                <a:lnTo>
                  <a:pt x="475" y="62"/>
                </a:lnTo>
                <a:lnTo>
                  <a:pt x="476" y="66"/>
                </a:lnTo>
                <a:lnTo>
                  <a:pt x="480" y="69"/>
                </a:lnTo>
                <a:lnTo>
                  <a:pt x="483" y="71"/>
                </a:lnTo>
                <a:lnTo>
                  <a:pt x="495" y="78"/>
                </a:lnTo>
                <a:lnTo>
                  <a:pt x="508" y="81"/>
                </a:lnTo>
                <a:lnTo>
                  <a:pt x="522" y="83"/>
                </a:lnTo>
                <a:lnTo>
                  <a:pt x="537" y="88"/>
                </a:lnTo>
                <a:lnTo>
                  <a:pt x="552" y="93"/>
                </a:lnTo>
                <a:lnTo>
                  <a:pt x="567" y="99"/>
                </a:lnTo>
                <a:lnTo>
                  <a:pt x="589" y="115"/>
                </a:lnTo>
                <a:lnTo>
                  <a:pt x="609" y="130"/>
                </a:lnTo>
                <a:lnTo>
                  <a:pt x="625" y="130"/>
                </a:lnTo>
                <a:lnTo>
                  <a:pt x="636" y="131"/>
                </a:lnTo>
                <a:lnTo>
                  <a:pt x="648" y="133"/>
                </a:lnTo>
                <a:lnTo>
                  <a:pt x="658" y="135"/>
                </a:lnTo>
                <a:lnTo>
                  <a:pt x="667" y="140"/>
                </a:lnTo>
                <a:lnTo>
                  <a:pt x="675" y="143"/>
                </a:lnTo>
                <a:lnTo>
                  <a:pt x="682" y="150"/>
                </a:lnTo>
                <a:lnTo>
                  <a:pt x="688" y="155"/>
                </a:lnTo>
                <a:lnTo>
                  <a:pt x="704" y="153"/>
                </a:lnTo>
                <a:lnTo>
                  <a:pt x="717" y="153"/>
                </a:lnTo>
                <a:lnTo>
                  <a:pt x="731" y="155"/>
                </a:lnTo>
                <a:lnTo>
                  <a:pt x="744" y="160"/>
                </a:lnTo>
                <a:lnTo>
                  <a:pt x="751" y="172"/>
                </a:lnTo>
                <a:lnTo>
                  <a:pt x="754" y="184"/>
                </a:lnTo>
                <a:lnTo>
                  <a:pt x="754" y="192"/>
                </a:lnTo>
                <a:lnTo>
                  <a:pt x="752" y="201"/>
                </a:lnTo>
                <a:lnTo>
                  <a:pt x="737" y="197"/>
                </a:lnTo>
                <a:lnTo>
                  <a:pt x="724" y="197"/>
                </a:lnTo>
                <a:lnTo>
                  <a:pt x="717" y="199"/>
                </a:lnTo>
                <a:lnTo>
                  <a:pt x="712" y="201"/>
                </a:lnTo>
                <a:lnTo>
                  <a:pt x="707" y="206"/>
                </a:lnTo>
                <a:lnTo>
                  <a:pt x="704" y="211"/>
                </a:lnTo>
                <a:lnTo>
                  <a:pt x="694" y="233"/>
                </a:lnTo>
                <a:lnTo>
                  <a:pt x="683" y="253"/>
                </a:lnTo>
                <a:lnTo>
                  <a:pt x="672" y="270"/>
                </a:lnTo>
                <a:lnTo>
                  <a:pt x="658" y="286"/>
                </a:lnTo>
                <a:lnTo>
                  <a:pt x="667" y="285"/>
                </a:lnTo>
                <a:lnTo>
                  <a:pt x="677" y="281"/>
                </a:lnTo>
                <a:lnTo>
                  <a:pt x="677" y="298"/>
                </a:lnTo>
                <a:lnTo>
                  <a:pt x="678" y="313"/>
                </a:lnTo>
                <a:lnTo>
                  <a:pt x="680" y="318"/>
                </a:lnTo>
                <a:lnTo>
                  <a:pt x="683" y="323"/>
                </a:lnTo>
                <a:lnTo>
                  <a:pt x="687" y="327"/>
                </a:lnTo>
                <a:lnTo>
                  <a:pt x="692" y="329"/>
                </a:lnTo>
                <a:lnTo>
                  <a:pt x="694" y="340"/>
                </a:lnTo>
                <a:lnTo>
                  <a:pt x="694" y="349"/>
                </a:lnTo>
                <a:lnTo>
                  <a:pt x="692" y="354"/>
                </a:lnTo>
                <a:lnTo>
                  <a:pt x="687" y="359"/>
                </a:lnTo>
                <a:lnTo>
                  <a:pt x="682" y="361"/>
                </a:lnTo>
                <a:lnTo>
                  <a:pt x="675" y="362"/>
                </a:lnTo>
                <a:lnTo>
                  <a:pt x="667" y="362"/>
                </a:lnTo>
                <a:lnTo>
                  <a:pt x="658" y="362"/>
                </a:lnTo>
                <a:lnTo>
                  <a:pt x="658" y="357"/>
                </a:lnTo>
                <a:lnTo>
                  <a:pt x="657" y="352"/>
                </a:lnTo>
                <a:lnTo>
                  <a:pt x="633" y="352"/>
                </a:lnTo>
                <a:lnTo>
                  <a:pt x="609" y="352"/>
                </a:lnTo>
                <a:lnTo>
                  <a:pt x="606" y="344"/>
                </a:lnTo>
                <a:lnTo>
                  <a:pt x="603" y="335"/>
                </a:lnTo>
                <a:lnTo>
                  <a:pt x="589" y="332"/>
                </a:lnTo>
                <a:lnTo>
                  <a:pt x="577" y="329"/>
                </a:lnTo>
                <a:lnTo>
                  <a:pt x="564" y="325"/>
                </a:lnTo>
                <a:lnTo>
                  <a:pt x="552" y="322"/>
                </a:lnTo>
                <a:lnTo>
                  <a:pt x="561" y="332"/>
                </a:lnTo>
                <a:lnTo>
                  <a:pt x="569" y="340"/>
                </a:lnTo>
                <a:lnTo>
                  <a:pt x="574" y="344"/>
                </a:lnTo>
                <a:lnTo>
                  <a:pt x="579" y="347"/>
                </a:lnTo>
                <a:lnTo>
                  <a:pt x="584" y="349"/>
                </a:lnTo>
                <a:lnTo>
                  <a:pt x="591" y="350"/>
                </a:lnTo>
                <a:lnTo>
                  <a:pt x="591" y="357"/>
                </a:lnTo>
                <a:lnTo>
                  <a:pt x="591" y="366"/>
                </a:lnTo>
                <a:lnTo>
                  <a:pt x="601" y="364"/>
                </a:lnTo>
                <a:lnTo>
                  <a:pt x="609" y="362"/>
                </a:lnTo>
                <a:lnTo>
                  <a:pt x="613" y="366"/>
                </a:lnTo>
                <a:lnTo>
                  <a:pt x="618" y="367"/>
                </a:lnTo>
                <a:lnTo>
                  <a:pt x="626" y="367"/>
                </a:lnTo>
                <a:lnTo>
                  <a:pt x="641" y="366"/>
                </a:lnTo>
                <a:lnTo>
                  <a:pt x="646" y="382"/>
                </a:lnTo>
                <a:lnTo>
                  <a:pt x="651" y="399"/>
                </a:lnTo>
                <a:lnTo>
                  <a:pt x="651" y="404"/>
                </a:lnTo>
                <a:lnTo>
                  <a:pt x="651" y="409"/>
                </a:lnTo>
                <a:lnTo>
                  <a:pt x="651" y="413"/>
                </a:lnTo>
                <a:lnTo>
                  <a:pt x="650" y="416"/>
                </a:lnTo>
                <a:lnTo>
                  <a:pt x="646" y="418"/>
                </a:lnTo>
                <a:lnTo>
                  <a:pt x="641" y="418"/>
                </a:lnTo>
                <a:lnTo>
                  <a:pt x="633" y="416"/>
                </a:lnTo>
                <a:lnTo>
                  <a:pt x="623" y="413"/>
                </a:lnTo>
                <a:lnTo>
                  <a:pt x="611" y="411"/>
                </a:lnTo>
                <a:lnTo>
                  <a:pt x="599" y="411"/>
                </a:lnTo>
                <a:lnTo>
                  <a:pt x="589" y="414"/>
                </a:lnTo>
                <a:lnTo>
                  <a:pt x="581" y="419"/>
                </a:lnTo>
                <a:lnTo>
                  <a:pt x="564" y="435"/>
                </a:lnTo>
                <a:lnTo>
                  <a:pt x="549" y="446"/>
                </a:lnTo>
                <a:lnTo>
                  <a:pt x="544" y="451"/>
                </a:lnTo>
                <a:lnTo>
                  <a:pt x="537" y="453"/>
                </a:lnTo>
                <a:lnTo>
                  <a:pt x="530" y="455"/>
                </a:lnTo>
                <a:lnTo>
                  <a:pt x="525" y="455"/>
                </a:lnTo>
                <a:lnTo>
                  <a:pt x="520" y="455"/>
                </a:lnTo>
                <a:lnTo>
                  <a:pt x="518" y="453"/>
                </a:lnTo>
                <a:lnTo>
                  <a:pt x="520" y="451"/>
                </a:lnTo>
                <a:lnTo>
                  <a:pt x="522" y="451"/>
                </a:lnTo>
                <a:lnTo>
                  <a:pt x="527" y="450"/>
                </a:lnTo>
                <a:lnTo>
                  <a:pt x="529" y="450"/>
                </a:lnTo>
                <a:lnTo>
                  <a:pt x="545" y="443"/>
                </a:lnTo>
                <a:lnTo>
                  <a:pt x="545" y="435"/>
                </a:lnTo>
                <a:lnTo>
                  <a:pt x="539" y="433"/>
                </a:lnTo>
                <a:lnTo>
                  <a:pt x="532" y="440"/>
                </a:lnTo>
                <a:lnTo>
                  <a:pt x="524" y="438"/>
                </a:lnTo>
                <a:lnTo>
                  <a:pt x="518" y="433"/>
                </a:lnTo>
                <a:lnTo>
                  <a:pt x="512" y="435"/>
                </a:lnTo>
                <a:lnTo>
                  <a:pt x="507" y="445"/>
                </a:lnTo>
                <a:lnTo>
                  <a:pt x="495" y="441"/>
                </a:lnTo>
                <a:lnTo>
                  <a:pt x="487" y="438"/>
                </a:lnTo>
                <a:lnTo>
                  <a:pt x="488" y="428"/>
                </a:lnTo>
                <a:lnTo>
                  <a:pt x="481" y="426"/>
                </a:lnTo>
                <a:lnTo>
                  <a:pt x="473" y="419"/>
                </a:lnTo>
                <a:lnTo>
                  <a:pt x="475" y="414"/>
                </a:lnTo>
                <a:lnTo>
                  <a:pt x="471" y="408"/>
                </a:lnTo>
                <a:lnTo>
                  <a:pt x="465" y="411"/>
                </a:lnTo>
                <a:lnTo>
                  <a:pt x="458" y="413"/>
                </a:lnTo>
                <a:lnTo>
                  <a:pt x="451" y="413"/>
                </a:lnTo>
                <a:lnTo>
                  <a:pt x="449" y="413"/>
                </a:lnTo>
                <a:lnTo>
                  <a:pt x="443" y="421"/>
                </a:lnTo>
                <a:lnTo>
                  <a:pt x="428" y="416"/>
                </a:lnTo>
                <a:lnTo>
                  <a:pt x="409" y="426"/>
                </a:lnTo>
                <a:lnTo>
                  <a:pt x="431" y="428"/>
                </a:lnTo>
                <a:lnTo>
                  <a:pt x="434" y="440"/>
                </a:lnTo>
                <a:lnTo>
                  <a:pt x="471" y="436"/>
                </a:lnTo>
                <a:lnTo>
                  <a:pt x="473" y="453"/>
                </a:lnTo>
                <a:lnTo>
                  <a:pt x="485" y="457"/>
                </a:lnTo>
                <a:lnTo>
                  <a:pt x="493" y="462"/>
                </a:lnTo>
                <a:lnTo>
                  <a:pt x="495" y="472"/>
                </a:lnTo>
                <a:lnTo>
                  <a:pt x="485" y="470"/>
                </a:lnTo>
                <a:lnTo>
                  <a:pt x="476" y="472"/>
                </a:lnTo>
                <a:lnTo>
                  <a:pt x="480" y="478"/>
                </a:lnTo>
                <a:lnTo>
                  <a:pt x="468" y="482"/>
                </a:lnTo>
                <a:lnTo>
                  <a:pt x="456" y="485"/>
                </a:lnTo>
                <a:lnTo>
                  <a:pt x="451" y="487"/>
                </a:lnTo>
                <a:lnTo>
                  <a:pt x="444" y="490"/>
                </a:lnTo>
                <a:lnTo>
                  <a:pt x="439" y="495"/>
                </a:lnTo>
                <a:lnTo>
                  <a:pt x="433" y="500"/>
                </a:lnTo>
                <a:lnTo>
                  <a:pt x="421" y="517"/>
                </a:lnTo>
                <a:lnTo>
                  <a:pt x="409" y="539"/>
                </a:lnTo>
                <a:lnTo>
                  <a:pt x="401" y="551"/>
                </a:lnTo>
                <a:lnTo>
                  <a:pt x="392" y="564"/>
                </a:lnTo>
                <a:lnTo>
                  <a:pt x="384" y="578"/>
                </a:lnTo>
                <a:lnTo>
                  <a:pt x="375" y="590"/>
                </a:lnTo>
                <a:lnTo>
                  <a:pt x="369" y="600"/>
                </a:lnTo>
                <a:lnTo>
                  <a:pt x="364" y="605"/>
                </a:lnTo>
                <a:lnTo>
                  <a:pt x="360" y="610"/>
                </a:lnTo>
                <a:lnTo>
                  <a:pt x="355" y="610"/>
                </a:lnTo>
                <a:lnTo>
                  <a:pt x="352" y="608"/>
                </a:lnTo>
                <a:lnTo>
                  <a:pt x="348" y="603"/>
                </a:lnTo>
                <a:lnTo>
                  <a:pt x="345" y="596"/>
                </a:lnTo>
                <a:lnTo>
                  <a:pt x="342" y="586"/>
                </a:lnTo>
                <a:lnTo>
                  <a:pt x="345" y="561"/>
                </a:lnTo>
                <a:lnTo>
                  <a:pt x="347" y="537"/>
                </a:lnTo>
                <a:lnTo>
                  <a:pt x="347" y="529"/>
                </a:lnTo>
                <a:lnTo>
                  <a:pt x="348" y="524"/>
                </a:lnTo>
                <a:lnTo>
                  <a:pt x="347" y="519"/>
                </a:lnTo>
                <a:lnTo>
                  <a:pt x="345" y="515"/>
                </a:lnTo>
                <a:lnTo>
                  <a:pt x="343" y="514"/>
                </a:lnTo>
                <a:lnTo>
                  <a:pt x="340" y="514"/>
                </a:lnTo>
                <a:lnTo>
                  <a:pt x="337" y="517"/>
                </a:lnTo>
                <a:lnTo>
                  <a:pt x="332" y="521"/>
                </a:lnTo>
                <a:lnTo>
                  <a:pt x="327" y="524"/>
                </a:lnTo>
                <a:lnTo>
                  <a:pt x="322" y="524"/>
                </a:lnTo>
                <a:lnTo>
                  <a:pt x="318" y="524"/>
                </a:lnTo>
                <a:lnTo>
                  <a:pt x="315" y="524"/>
                </a:lnTo>
                <a:lnTo>
                  <a:pt x="313" y="521"/>
                </a:lnTo>
                <a:lnTo>
                  <a:pt x="313" y="517"/>
                </a:lnTo>
                <a:lnTo>
                  <a:pt x="313" y="512"/>
                </a:lnTo>
                <a:lnTo>
                  <a:pt x="315" y="505"/>
                </a:lnTo>
                <a:lnTo>
                  <a:pt x="320" y="494"/>
                </a:lnTo>
                <a:lnTo>
                  <a:pt x="323" y="482"/>
                </a:lnTo>
                <a:lnTo>
                  <a:pt x="320" y="480"/>
                </a:lnTo>
                <a:lnTo>
                  <a:pt x="316" y="477"/>
                </a:lnTo>
                <a:lnTo>
                  <a:pt x="313" y="473"/>
                </a:lnTo>
                <a:lnTo>
                  <a:pt x="310" y="470"/>
                </a:lnTo>
                <a:lnTo>
                  <a:pt x="305" y="460"/>
                </a:lnTo>
                <a:lnTo>
                  <a:pt x="300" y="448"/>
                </a:lnTo>
                <a:lnTo>
                  <a:pt x="291" y="446"/>
                </a:lnTo>
                <a:lnTo>
                  <a:pt x="285" y="445"/>
                </a:lnTo>
                <a:lnTo>
                  <a:pt x="279" y="443"/>
                </a:lnTo>
                <a:lnTo>
                  <a:pt x="274" y="440"/>
                </a:lnTo>
                <a:lnTo>
                  <a:pt x="269" y="431"/>
                </a:lnTo>
                <a:lnTo>
                  <a:pt x="268" y="423"/>
                </a:lnTo>
                <a:lnTo>
                  <a:pt x="258" y="423"/>
                </a:lnTo>
                <a:lnTo>
                  <a:pt x="247" y="421"/>
                </a:lnTo>
                <a:lnTo>
                  <a:pt x="241" y="416"/>
                </a:lnTo>
                <a:lnTo>
                  <a:pt x="234" y="409"/>
                </a:lnTo>
                <a:lnTo>
                  <a:pt x="227" y="399"/>
                </a:lnTo>
                <a:lnTo>
                  <a:pt x="224" y="387"/>
                </a:lnTo>
                <a:lnTo>
                  <a:pt x="221" y="372"/>
                </a:lnTo>
                <a:lnTo>
                  <a:pt x="219" y="354"/>
                </a:lnTo>
                <a:lnTo>
                  <a:pt x="215" y="345"/>
                </a:lnTo>
                <a:lnTo>
                  <a:pt x="214" y="337"/>
                </a:lnTo>
                <a:lnTo>
                  <a:pt x="210" y="334"/>
                </a:lnTo>
                <a:lnTo>
                  <a:pt x="209" y="330"/>
                </a:lnTo>
                <a:lnTo>
                  <a:pt x="205" y="332"/>
                </a:lnTo>
                <a:lnTo>
                  <a:pt x="204" y="334"/>
                </a:lnTo>
                <a:lnTo>
                  <a:pt x="200" y="339"/>
                </a:lnTo>
                <a:lnTo>
                  <a:pt x="199" y="345"/>
                </a:lnTo>
                <a:lnTo>
                  <a:pt x="192" y="349"/>
                </a:lnTo>
                <a:lnTo>
                  <a:pt x="187" y="354"/>
                </a:lnTo>
                <a:lnTo>
                  <a:pt x="184" y="362"/>
                </a:lnTo>
                <a:lnTo>
                  <a:pt x="182" y="374"/>
                </a:lnTo>
                <a:lnTo>
                  <a:pt x="180" y="398"/>
                </a:lnTo>
                <a:lnTo>
                  <a:pt x="178" y="423"/>
                </a:lnTo>
                <a:lnTo>
                  <a:pt x="177" y="431"/>
                </a:lnTo>
                <a:lnTo>
                  <a:pt x="177" y="438"/>
                </a:lnTo>
                <a:lnTo>
                  <a:pt x="177" y="443"/>
                </a:lnTo>
                <a:lnTo>
                  <a:pt x="178" y="446"/>
                </a:lnTo>
                <a:lnTo>
                  <a:pt x="182" y="448"/>
                </a:lnTo>
                <a:lnTo>
                  <a:pt x="185" y="448"/>
                </a:lnTo>
                <a:lnTo>
                  <a:pt x="190" y="446"/>
                </a:lnTo>
                <a:lnTo>
                  <a:pt x="197" y="443"/>
                </a:lnTo>
                <a:lnTo>
                  <a:pt x="205" y="438"/>
                </a:lnTo>
                <a:lnTo>
                  <a:pt x="212" y="436"/>
                </a:lnTo>
                <a:lnTo>
                  <a:pt x="217" y="436"/>
                </a:lnTo>
                <a:lnTo>
                  <a:pt x="221" y="440"/>
                </a:lnTo>
                <a:lnTo>
                  <a:pt x="221" y="445"/>
                </a:lnTo>
                <a:lnTo>
                  <a:pt x="219" y="451"/>
                </a:lnTo>
                <a:lnTo>
                  <a:pt x="215" y="458"/>
                </a:lnTo>
                <a:lnTo>
                  <a:pt x="210" y="465"/>
                </a:lnTo>
                <a:lnTo>
                  <a:pt x="190" y="490"/>
                </a:lnTo>
                <a:lnTo>
                  <a:pt x="168" y="515"/>
                </a:lnTo>
                <a:lnTo>
                  <a:pt x="163" y="522"/>
                </a:lnTo>
                <a:lnTo>
                  <a:pt x="157" y="526"/>
                </a:lnTo>
                <a:lnTo>
                  <a:pt x="153" y="526"/>
                </a:lnTo>
                <a:lnTo>
                  <a:pt x="148" y="524"/>
                </a:lnTo>
                <a:lnTo>
                  <a:pt x="143" y="521"/>
                </a:lnTo>
                <a:lnTo>
                  <a:pt x="138" y="515"/>
                </a:lnTo>
                <a:lnTo>
                  <a:pt x="131" y="504"/>
                </a:lnTo>
                <a:lnTo>
                  <a:pt x="123" y="495"/>
                </a:lnTo>
                <a:lnTo>
                  <a:pt x="114" y="487"/>
                </a:lnTo>
                <a:lnTo>
                  <a:pt x="106" y="478"/>
                </a:lnTo>
                <a:lnTo>
                  <a:pt x="89" y="467"/>
                </a:lnTo>
                <a:lnTo>
                  <a:pt x="72" y="457"/>
                </a:lnTo>
                <a:lnTo>
                  <a:pt x="64" y="457"/>
                </a:lnTo>
                <a:lnTo>
                  <a:pt x="59" y="458"/>
                </a:lnTo>
                <a:lnTo>
                  <a:pt x="54" y="457"/>
                </a:lnTo>
                <a:lnTo>
                  <a:pt x="52" y="455"/>
                </a:lnTo>
                <a:lnTo>
                  <a:pt x="51" y="450"/>
                </a:lnTo>
                <a:lnTo>
                  <a:pt x="52" y="445"/>
                </a:lnTo>
                <a:lnTo>
                  <a:pt x="57" y="436"/>
                </a:lnTo>
                <a:lnTo>
                  <a:pt x="62" y="428"/>
                </a:lnTo>
                <a:lnTo>
                  <a:pt x="66" y="419"/>
                </a:lnTo>
                <a:lnTo>
                  <a:pt x="67" y="413"/>
                </a:lnTo>
                <a:lnTo>
                  <a:pt x="67" y="408"/>
                </a:lnTo>
                <a:lnTo>
                  <a:pt x="64" y="403"/>
                </a:lnTo>
                <a:lnTo>
                  <a:pt x="57" y="399"/>
                </a:lnTo>
                <a:lnTo>
                  <a:pt x="51" y="396"/>
                </a:lnTo>
                <a:lnTo>
                  <a:pt x="40" y="393"/>
                </a:lnTo>
                <a:lnTo>
                  <a:pt x="27" y="391"/>
                </a:lnTo>
                <a:lnTo>
                  <a:pt x="22" y="394"/>
                </a:lnTo>
                <a:lnTo>
                  <a:pt x="17" y="394"/>
                </a:lnTo>
                <a:lnTo>
                  <a:pt x="14" y="396"/>
                </a:lnTo>
                <a:lnTo>
                  <a:pt x="10" y="394"/>
                </a:lnTo>
                <a:lnTo>
                  <a:pt x="8" y="389"/>
                </a:lnTo>
                <a:lnTo>
                  <a:pt x="8" y="382"/>
                </a:lnTo>
                <a:lnTo>
                  <a:pt x="10" y="374"/>
                </a:lnTo>
                <a:lnTo>
                  <a:pt x="14" y="361"/>
                </a:lnTo>
                <a:lnTo>
                  <a:pt x="20" y="354"/>
                </a:lnTo>
                <a:lnTo>
                  <a:pt x="25" y="347"/>
                </a:lnTo>
                <a:lnTo>
                  <a:pt x="29" y="339"/>
                </a:lnTo>
                <a:lnTo>
                  <a:pt x="32" y="330"/>
                </a:lnTo>
                <a:lnTo>
                  <a:pt x="34" y="320"/>
                </a:lnTo>
                <a:lnTo>
                  <a:pt x="34" y="308"/>
                </a:lnTo>
                <a:lnTo>
                  <a:pt x="34" y="297"/>
                </a:lnTo>
                <a:lnTo>
                  <a:pt x="30" y="283"/>
                </a:lnTo>
                <a:lnTo>
                  <a:pt x="27" y="276"/>
                </a:lnTo>
                <a:lnTo>
                  <a:pt x="24" y="271"/>
                </a:lnTo>
                <a:lnTo>
                  <a:pt x="24" y="266"/>
                </a:lnTo>
                <a:lnTo>
                  <a:pt x="24" y="261"/>
                </a:lnTo>
                <a:lnTo>
                  <a:pt x="25" y="251"/>
                </a:lnTo>
                <a:lnTo>
                  <a:pt x="27" y="243"/>
                </a:lnTo>
                <a:lnTo>
                  <a:pt x="24" y="222"/>
                </a:lnTo>
                <a:lnTo>
                  <a:pt x="22" y="202"/>
                </a:lnTo>
                <a:lnTo>
                  <a:pt x="20" y="184"/>
                </a:lnTo>
                <a:lnTo>
                  <a:pt x="22" y="167"/>
                </a:lnTo>
                <a:lnTo>
                  <a:pt x="25" y="165"/>
                </a:lnTo>
                <a:lnTo>
                  <a:pt x="29" y="163"/>
                </a:lnTo>
                <a:lnTo>
                  <a:pt x="30" y="160"/>
                </a:lnTo>
                <a:lnTo>
                  <a:pt x="32" y="158"/>
                </a:lnTo>
                <a:lnTo>
                  <a:pt x="30" y="155"/>
                </a:lnTo>
                <a:lnTo>
                  <a:pt x="29" y="152"/>
                </a:lnTo>
                <a:lnTo>
                  <a:pt x="25" y="150"/>
                </a:lnTo>
                <a:lnTo>
                  <a:pt x="20" y="148"/>
                </a:lnTo>
                <a:lnTo>
                  <a:pt x="10" y="140"/>
                </a:lnTo>
                <a:lnTo>
                  <a:pt x="0" y="135"/>
                </a:lnTo>
                <a:lnTo>
                  <a:pt x="2" y="130"/>
                </a:lnTo>
                <a:lnTo>
                  <a:pt x="3" y="125"/>
                </a:lnTo>
                <a:lnTo>
                  <a:pt x="27" y="125"/>
                </a:lnTo>
                <a:lnTo>
                  <a:pt x="52" y="125"/>
                </a:lnTo>
              </a:path>
            </a:pathLst>
          </a:custGeom>
          <a:solidFill>
            <a:srgbClr val="CCECFF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060" name="Freeform 17"/>
          <p:cNvSpPr>
            <a:spLocks noChangeAspect="1"/>
          </p:cNvSpPr>
          <p:nvPr>
            <p:custDataLst>
              <p:tags r:id="rId11"/>
            </p:custDataLst>
          </p:nvPr>
        </p:nvSpPr>
        <p:spPr bwMode="auto">
          <a:xfrm>
            <a:off x="1724025" y="1628775"/>
            <a:ext cx="2560638" cy="2606675"/>
          </a:xfrm>
          <a:custGeom>
            <a:avLst/>
            <a:gdLst>
              <a:gd name="T0" fmla="*/ 2147483647 w 1615"/>
              <a:gd name="T1" fmla="*/ 2147483647 h 1632"/>
              <a:gd name="T2" fmla="*/ 2147483647 w 1615"/>
              <a:gd name="T3" fmla="*/ 2147483647 h 1632"/>
              <a:gd name="T4" fmla="*/ 2147483647 w 1615"/>
              <a:gd name="T5" fmla="*/ 2147483647 h 1632"/>
              <a:gd name="T6" fmla="*/ 2147483647 w 1615"/>
              <a:gd name="T7" fmla="*/ 2147483647 h 1632"/>
              <a:gd name="T8" fmla="*/ 2147483647 w 1615"/>
              <a:gd name="T9" fmla="*/ 2147483647 h 1632"/>
              <a:gd name="T10" fmla="*/ 2147483647 w 1615"/>
              <a:gd name="T11" fmla="*/ 2147483647 h 1632"/>
              <a:gd name="T12" fmla="*/ 2147483647 w 1615"/>
              <a:gd name="T13" fmla="*/ 2147483647 h 1632"/>
              <a:gd name="T14" fmla="*/ 2147483647 w 1615"/>
              <a:gd name="T15" fmla="*/ 2147483647 h 1632"/>
              <a:gd name="T16" fmla="*/ 2147483647 w 1615"/>
              <a:gd name="T17" fmla="*/ 2147483647 h 1632"/>
              <a:gd name="T18" fmla="*/ 2147483647 w 1615"/>
              <a:gd name="T19" fmla="*/ 2147483647 h 1632"/>
              <a:gd name="T20" fmla="*/ 2147483647 w 1615"/>
              <a:gd name="T21" fmla="*/ 2147483647 h 1632"/>
              <a:gd name="T22" fmla="*/ 2147483647 w 1615"/>
              <a:gd name="T23" fmla="*/ 2147483647 h 1632"/>
              <a:gd name="T24" fmla="*/ 2147483647 w 1615"/>
              <a:gd name="T25" fmla="*/ 2147483647 h 1632"/>
              <a:gd name="T26" fmla="*/ 2147483647 w 1615"/>
              <a:gd name="T27" fmla="*/ 2147483647 h 1632"/>
              <a:gd name="T28" fmla="*/ 2147483647 w 1615"/>
              <a:gd name="T29" fmla="*/ 2147483647 h 1632"/>
              <a:gd name="T30" fmla="*/ 2147483647 w 1615"/>
              <a:gd name="T31" fmla="*/ 2147483647 h 1632"/>
              <a:gd name="T32" fmla="*/ 2147483647 w 1615"/>
              <a:gd name="T33" fmla="*/ 2147483647 h 1632"/>
              <a:gd name="T34" fmla="*/ 2147483647 w 1615"/>
              <a:gd name="T35" fmla="*/ 2147483647 h 1632"/>
              <a:gd name="T36" fmla="*/ 2147483647 w 1615"/>
              <a:gd name="T37" fmla="*/ 2147483647 h 1632"/>
              <a:gd name="T38" fmla="*/ 2147483647 w 1615"/>
              <a:gd name="T39" fmla="*/ 2147483647 h 1632"/>
              <a:gd name="T40" fmla="*/ 2147483647 w 1615"/>
              <a:gd name="T41" fmla="*/ 2147483647 h 1632"/>
              <a:gd name="T42" fmla="*/ 2147483647 w 1615"/>
              <a:gd name="T43" fmla="*/ 2147483647 h 1632"/>
              <a:gd name="T44" fmla="*/ 2147483647 w 1615"/>
              <a:gd name="T45" fmla="*/ 2147483647 h 1632"/>
              <a:gd name="T46" fmla="*/ 2147483647 w 1615"/>
              <a:gd name="T47" fmla="*/ 2147483647 h 1632"/>
              <a:gd name="T48" fmla="*/ 2147483647 w 1615"/>
              <a:gd name="T49" fmla="*/ 2147483647 h 1632"/>
              <a:gd name="T50" fmla="*/ 2147483647 w 1615"/>
              <a:gd name="T51" fmla="*/ 2147483647 h 1632"/>
              <a:gd name="T52" fmla="*/ 2147483647 w 1615"/>
              <a:gd name="T53" fmla="*/ 2147483647 h 1632"/>
              <a:gd name="T54" fmla="*/ 2147483647 w 1615"/>
              <a:gd name="T55" fmla="*/ 2147483647 h 1632"/>
              <a:gd name="T56" fmla="*/ 2147483647 w 1615"/>
              <a:gd name="T57" fmla="*/ 2147483647 h 1632"/>
              <a:gd name="T58" fmla="*/ 2147483647 w 1615"/>
              <a:gd name="T59" fmla="*/ 2147483647 h 1632"/>
              <a:gd name="T60" fmla="*/ 2147483647 w 1615"/>
              <a:gd name="T61" fmla="*/ 2147483647 h 1632"/>
              <a:gd name="T62" fmla="*/ 2147483647 w 1615"/>
              <a:gd name="T63" fmla="*/ 2147483647 h 1632"/>
              <a:gd name="T64" fmla="*/ 2147483647 w 1615"/>
              <a:gd name="T65" fmla="*/ 2147483647 h 1632"/>
              <a:gd name="T66" fmla="*/ 2147483647 w 1615"/>
              <a:gd name="T67" fmla="*/ 2147483647 h 1632"/>
              <a:gd name="T68" fmla="*/ 2147483647 w 1615"/>
              <a:gd name="T69" fmla="*/ 2147483647 h 1632"/>
              <a:gd name="T70" fmla="*/ 2147483647 w 1615"/>
              <a:gd name="T71" fmla="*/ 2147483647 h 1632"/>
              <a:gd name="T72" fmla="*/ 2147483647 w 1615"/>
              <a:gd name="T73" fmla="*/ 2147483647 h 1632"/>
              <a:gd name="T74" fmla="*/ 2147483647 w 1615"/>
              <a:gd name="T75" fmla="*/ 2147483647 h 1632"/>
              <a:gd name="T76" fmla="*/ 2147483647 w 1615"/>
              <a:gd name="T77" fmla="*/ 2147483647 h 1632"/>
              <a:gd name="T78" fmla="*/ 2147483647 w 1615"/>
              <a:gd name="T79" fmla="*/ 2147483647 h 1632"/>
              <a:gd name="T80" fmla="*/ 2147483647 w 1615"/>
              <a:gd name="T81" fmla="*/ 2147483647 h 1632"/>
              <a:gd name="T82" fmla="*/ 2147483647 w 1615"/>
              <a:gd name="T83" fmla="*/ 2147483647 h 1632"/>
              <a:gd name="T84" fmla="*/ 2147483647 w 1615"/>
              <a:gd name="T85" fmla="*/ 2147483647 h 1632"/>
              <a:gd name="T86" fmla="*/ 2147483647 w 1615"/>
              <a:gd name="T87" fmla="*/ 2147483647 h 1632"/>
              <a:gd name="T88" fmla="*/ 2147483647 w 1615"/>
              <a:gd name="T89" fmla="*/ 2147483647 h 1632"/>
              <a:gd name="T90" fmla="*/ 2147483647 w 1615"/>
              <a:gd name="T91" fmla="*/ 2147483647 h 1632"/>
              <a:gd name="T92" fmla="*/ 2147483647 w 1615"/>
              <a:gd name="T93" fmla="*/ 2147483647 h 1632"/>
              <a:gd name="T94" fmla="*/ 2147483647 w 1615"/>
              <a:gd name="T95" fmla="*/ 2147483647 h 1632"/>
              <a:gd name="T96" fmla="*/ 2147483647 w 1615"/>
              <a:gd name="T97" fmla="*/ 2147483647 h 1632"/>
              <a:gd name="T98" fmla="*/ 2147483647 w 1615"/>
              <a:gd name="T99" fmla="*/ 2147483647 h 1632"/>
              <a:gd name="T100" fmla="*/ 2147483647 w 1615"/>
              <a:gd name="T101" fmla="*/ 2147483647 h 1632"/>
              <a:gd name="T102" fmla="*/ 2147483647 w 1615"/>
              <a:gd name="T103" fmla="*/ 2147483647 h 1632"/>
              <a:gd name="T104" fmla="*/ 2147483647 w 1615"/>
              <a:gd name="T105" fmla="*/ 2147483647 h 1632"/>
              <a:gd name="T106" fmla="*/ 2147483647 w 1615"/>
              <a:gd name="T107" fmla="*/ 2147483647 h 1632"/>
              <a:gd name="T108" fmla="*/ 2147483647 w 1615"/>
              <a:gd name="T109" fmla="*/ 2147483647 h 1632"/>
              <a:gd name="T110" fmla="*/ 2147483647 w 1615"/>
              <a:gd name="T111" fmla="*/ 2147483647 h 1632"/>
              <a:gd name="T112" fmla="*/ 2147483647 w 1615"/>
              <a:gd name="T113" fmla="*/ 2147483647 h 1632"/>
              <a:gd name="T114" fmla="*/ 2147483647 w 1615"/>
              <a:gd name="T115" fmla="*/ 2147483647 h 1632"/>
              <a:gd name="T116" fmla="*/ 2147483647 w 1615"/>
              <a:gd name="T117" fmla="*/ 2147483647 h 1632"/>
              <a:gd name="T118" fmla="*/ 2147483647 w 1615"/>
              <a:gd name="T119" fmla="*/ 2147483647 h 1632"/>
              <a:gd name="T120" fmla="*/ 2147483647 w 1615"/>
              <a:gd name="T121" fmla="*/ 2147483647 h 1632"/>
              <a:gd name="T122" fmla="*/ 2147483647 w 1615"/>
              <a:gd name="T123" fmla="*/ 2147483647 h 1632"/>
              <a:gd name="T124" fmla="*/ 2147483647 w 1615"/>
              <a:gd name="T125" fmla="*/ 2147483647 h 16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615"/>
              <a:gd name="T190" fmla="*/ 0 h 1632"/>
              <a:gd name="T191" fmla="*/ 1615 w 1615"/>
              <a:gd name="T192" fmla="*/ 1632 h 163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615" h="1632">
                <a:moveTo>
                  <a:pt x="930" y="1609"/>
                </a:moveTo>
                <a:lnTo>
                  <a:pt x="923" y="1602"/>
                </a:lnTo>
                <a:lnTo>
                  <a:pt x="918" y="1592"/>
                </a:lnTo>
                <a:lnTo>
                  <a:pt x="911" y="1585"/>
                </a:lnTo>
                <a:lnTo>
                  <a:pt x="904" y="1580"/>
                </a:lnTo>
                <a:lnTo>
                  <a:pt x="899" y="1577"/>
                </a:lnTo>
                <a:lnTo>
                  <a:pt x="896" y="1578"/>
                </a:lnTo>
                <a:lnTo>
                  <a:pt x="893" y="1580"/>
                </a:lnTo>
                <a:lnTo>
                  <a:pt x="891" y="1587"/>
                </a:lnTo>
                <a:lnTo>
                  <a:pt x="889" y="1595"/>
                </a:lnTo>
                <a:lnTo>
                  <a:pt x="889" y="1605"/>
                </a:lnTo>
                <a:lnTo>
                  <a:pt x="889" y="1617"/>
                </a:lnTo>
                <a:lnTo>
                  <a:pt x="888" y="1624"/>
                </a:lnTo>
                <a:lnTo>
                  <a:pt x="884" y="1629"/>
                </a:lnTo>
                <a:lnTo>
                  <a:pt x="879" y="1632"/>
                </a:lnTo>
                <a:lnTo>
                  <a:pt x="874" y="1632"/>
                </a:lnTo>
                <a:lnTo>
                  <a:pt x="867" y="1631"/>
                </a:lnTo>
                <a:lnTo>
                  <a:pt x="861" y="1627"/>
                </a:lnTo>
                <a:lnTo>
                  <a:pt x="852" y="1622"/>
                </a:lnTo>
                <a:lnTo>
                  <a:pt x="837" y="1605"/>
                </a:lnTo>
                <a:lnTo>
                  <a:pt x="824" y="1589"/>
                </a:lnTo>
                <a:lnTo>
                  <a:pt x="808" y="1575"/>
                </a:lnTo>
                <a:lnTo>
                  <a:pt x="793" y="1560"/>
                </a:lnTo>
                <a:lnTo>
                  <a:pt x="787" y="1558"/>
                </a:lnTo>
                <a:lnTo>
                  <a:pt x="781" y="1557"/>
                </a:lnTo>
                <a:lnTo>
                  <a:pt x="776" y="1557"/>
                </a:lnTo>
                <a:lnTo>
                  <a:pt x="771" y="1557"/>
                </a:lnTo>
                <a:lnTo>
                  <a:pt x="763" y="1560"/>
                </a:lnTo>
                <a:lnTo>
                  <a:pt x="755" y="1567"/>
                </a:lnTo>
                <a:lnTo>
                  <a:pt x="739" y="1568"/>
                </a:lnTo>
                <a:lnTo>
                  <a:pt x="726" y="1568"/>
                </a:lnTo>
                <a:lnTo>
                  <a:pt x="719" y="1567"/>
                </a:lnTo>
                <a:lnTo>
                  <a:pt x="714" y="1563"/>
                </a:lnTo>
                <a:lnTo>
                  <a:pt x="707" y="1560"/>
                </a:lnTo>
                <a:lnTo>
                  <a:pt x="702" y="1557"/>
                </a:lnTo>
                <a:lnTo>
                  <a:pt x="697" y="1553"/>
                </a:lnTo>
                <a:lnTo>
                  <a:pt x="691" y="1553"/>
                </a:lnTo>
                <a:lnTo>
                  <a:pt x="684" y="1555"/>
                </a:lnTo>
                <a:lnTo>
                  <a:pt x="677" y="1558"/>
                </a:lnTo>
                <a:lnTo>
                  <a:pt x="665" y="1568"/>
                </a:lnTo>
                <a:lnTo>
                  <a:pt x="652" y="1580"/>
                </a:lnTo>
                <a:lnTo>
                  <a:pt x="654" y="1594"/>
                </a:lnTo>
                <a:lnTo>
                  <a:pt x="652" y="1605"/>
                </a:lnTo>
                <a:lnTo>
                  <a:pt x="650" y="1612"/>
                </a:lnTo>
                <a:lnTo>
                  <a:pt x="647" y="1617"/>
                </a:lnTo>
                <a:lnTo>
                  <a:pt x="643" y="1621"/>
                </a:lnTo>
                <a:lnTo>
                  <a:pt x="638" y="1622"/>
                </a:lnTo>
                <a:lnTo>
                  <a:pt x="633" y="1622"/>
                </a:lnTo>
                <a:lnTo>
                  <a:pt x="630" y="1624"/>
                </a:lnTo>
                <a:lnTo>
                  <a:pt x="616" y="1624"/>
                </a:lnTo>
                <a:lnTo>
                  <a:pt x="603" y="1626"/>
                </a:lnTo>
                <a:lnTo>
                  <a:pt x="590" y="1626"/>
                </a:lnTo>
                <a:lnTo>
                  <a:pt x="576" y="1626"/>
                </a:lnTo>
                <a:lnTo>
                  <a:pt x="566" y="1624"/>
                </a:lnTo>
                <a:lnTo>
                  <a:pt x="559" y="1619"/>
                </a:lnTo>
                <a:lnTo>
                  <a:pt x="558" y="1615"/>
                </a:lnTo>
                <a:lnTo>
                  <a:pt x="556" y="1612"/>
                </a:lnTo>
                <a:lnTo>
                  <a:pt x="556" y="1609"/>
                </a:lnTo>
                <a:lnTo>
                  <a:pt x="556" y="1604"/>
                </a:lnTo>
                <a:lnTo>
                  <a:pt x="554" y="1599"/>
                </a:lnTo>
                <a:lnTo>
                  <a:pt x="551" y="1595"/>
                </a:lnTo>
                <a:lnTo>
                  <a:pt x="544" y="1594"/>
                </a:lnTo>
                <a:lnTo>
                  <a:pt x="537" y="1594"/>
                </a:lnTo>
                <a:lnTo>
                  <a:pt x="522" y="1592"/>
                </a:lnTo>
                <a:lnTo>
                  <a:pt x="512" y="1590"/>
                </a:lnTo>
                <a:lnTo>
                  <a:pt x="504" y="1587"/>
                </a:lnTo>
                <a:lnTo>
                  <a:pt x="497" y="1583"/>
                </a:lnTo>
                <a:lnTo>
                  <a:pt x="482" y="1580"/>
                </a:lnTo>
                <a:lnTo>
                  <a:pt x="470" y="1575"/>
                </a:lnTo>
                <a:lnTo>
                  <a:pt x="460" y="1572"/>
                </a:lnTo>
                <a:lnTo>
                  <a:pt x="452" y="1567"/>
                </a:lnTo>
                <a:lnTo>
                  <a:pt x="445" y="1562"/>
                </a:lnTo>
                <a:lnTo>
                  <a:pt x="441" y="1557"/>
                </a:lnTo>
                <a:lnTo>
                  <a:pt x="440" y="1551"/>
                </a:lnTo>
                <a:lnTo>
                  <a:pt x="441" y="1545"/>
                </a:lnTo>
                <a:lnTo>
                  <a:pt x="438" y="1533"/>
                </a:lnTo>
                <a:lnTo>
                  <a:pt x="436" y="1519"/>
                </a:lnTo>
                <a:lnTo>
                  <a:pt x="430" y="1506"/>
                </a:lnTo>
                <a:lnTo>
                  <a:pt x="425" y="1496"/>
                </a:lnTo>
                <a:lnTo>
                  <a:pt x="420" y="1491"/>
                </a:lnTo>
                <a:lnTo>
                  <a:pt x="413" y="1488"/>
                </a:lnTo>
                <a:lnTo>
                  <a:pt x="384" y="1469"/>
                </a:lnTo>
                <a:lnTo>
                  <a:pt x="364" y="1454"/>
                </a:lnTo>
                <a:lnTo>
                  <a:pt x="347" y="1450"/>
                </a:lnTo>
                <a:lnTo>
                  <a:pt x="334" y="1450"/>
                </a:lnTo>
                <a:lnTo>
                  <a:pt x="322" y="1452"/>
                </a:lnTo>
                <a:lnTo>
                  <a:pt x="312" y="1454"/>
                </a:lnTo>
                <a:lnTo>
                  <a:pt x="303" y="1454"/>
                </a:lnTo>
                <a:lnTo>
                  <a:pt x="295" y="1454"/>
                </a:lnTo>
                <a:lnTo>
                  <a:pt x="290" y="1452"/>
                </a:lnTo>
                <a:lnTo>
                  <a:pt x="283" y="1449"/>
                </a:lnTo>
                <a:lnTo>
                  <a:pt x="280" y="1445"/>
                </a:lnTo>
                <a:lnTo>
                  <a:pt x="275" y="1440"/>
                </a:lnTo>
                <a:lnTo>
                  <a:pt x="273" y="1435"/>
                </a:lnTo>
                <a:lnTo>
                  <a:pt x="270" y="1430"/>
                </a:lnTo>
                <a:lnTo>
                  <a:pt x="260" y="1408"/>
                </a:lnTo>
                <a:lnTo>
                  <a:pt x="248" y="1386"/>
                </a:lnTo>
                <a:lnTo>
                  <a:pt x="244" y="1381"/>
                </a:lnTo>
                <a:lnTo>
                  <a:pt x="241" y="1378"/>
                </a:lnTo>
                <a:lnTo>
                  <a:pt x="239" y="1375"/>
                </a:lnTo>
                <a:lnTo>
                  <a:pt x="239" y="1370"/>
                </a:lnTo>
                <a:lnTo>
                  <a:pt x="239" y="1363"/>
                </a:lnTo>
                <a:lnTo>
                  <a:pt x="241" y="1354"/>
                </a:lnTo>
                <a:lnTo>
                  <a:pt x="238" y="1346"/>
                </a:lnTo>
                <a:lnTo>
                  <a:pt x="236" y="1339"/>
                </a:lnTo>
                <a:lnTo>
                  <a:pt x="233" y="1334"/>
                </a:lnTo>
                <a:lnTo>
                  <a:pt x="228" y="1329"/>
                </a:lnTo>
                <a:lnTo>
                  <a:pt x="224" y="1326"/>
                </a:lnTo>
                <a:lnTo>
                  <a:pt x="219" y="1324"/>
                </a:lnTo>
                <a:lnTo>
                  <a:pt x="214" y="1324"/>
                </a:lnTo>
                <a:lnTo>
                  <a:pt x="209" y="1324"/>
                </a:lnTo>
                <a:lnTo>
                  <a:pt x="184" y="1302"/>
                </a:lnTo>
                <a:lnTo>
                  <a:pt x="165" y="1289"/>
                </a:lnTo>
                <a:lnTo>
                  <a:pt x="154" y="1280"/>
                </a:lnTo>
                <a:lnTo>
                  <a:pt x="147" y="1277"/>
                </a:lnTo>
                <a:lnTo>
                  <a:pt x="138" y="1275"/>
                </a:lnTo>
                <a:lnTo>
                  <a:pt x="128" y="1272"/>
                </a:lnTo>
                <a:lnTo>
                  <a:pt x="110" y="1258"/>
                </a:lnTo>
                <a:lnTo>
                  <a:pt x="93" y="1245"/>
                </a:lnTo>
                <a:lnTo>
                  <a:pt x="83" y="1238"/>
                </a:lnTo>
                <a:lnTo>
                  <a:pt x="78" y="1230"/>
                </a:lnTo>
                <a:lnTo>
                  <a:pt x="78" y="1225"/>
                </a:lnTo>
                <a:lnTo>
                  <a:pt x="78" y="1221"/>
                </a:lnTo>
                <a:lnTo>
                  <a:pt x="78" y="1216"/>
                </a:lnTo>
                <a:lnTo>
                  <a:pt x="81" y="1213"/>
                </a:lnTo>
                <a:lnTo>
                  <a:pt x="88" y="1193"/>
                </a:lnTo>
                <a:lnTo>
                  <a:pt x="96" y="1173"/>
                </a:lnTo>
                <a:lnTo>
                  <a:pt x="105" y="1157"/>
                </a:lnTo>
                <a:lnTo>
                  <a:pt x="115" y="1142"/>
                </a:lnTo>
                <a:lnTo>
                  <a:pt x="123" y="1127"/>
                </a:lnTo>
                <a:lnTo>
                  <a:pt x="132" y="1112"/>
                </a:lnTo>
                <a:lnTo>
                  <a:pt x="135" y="1107"/>
                </a:lnTo>
                <a:lnTo>
                  <a:pt x="137" y="1102"/>
                </a:lnTo>
                <a:lnTo>
                  <a:pt x="137" y="1098"/>
                </a:lnTo>
                <a:lnTo>
                  <a:pt x="137" y="1095"/>
                </a:lnTo>
                <a:lnTo>
                  <a:pt x="133" y="1090"/>
                </a:lnTo>
                <a:lnTo>
                  <a:pt x="127" y="1085"/>
                </a:lnTo>
                <a:lnTo>
                  <a:pt x="113" y="1080"/>
                </a:lnTo>
                <a:lnTo>
                  <a:pt x="100" y="1073"/>
                </a:lnTo>
                <a:lnTo>
                  <a:pt x="90" y="1066"/>
                </a:lnTo>
                <a:lnTo>
                  <a:pt x="81" y="1056"/>
                </a:lnTo>
                <a:lnTo>
                  <a:pt x="68" y="1048"/>
                </a:lnTo>
                <a:lnTo>
                  <a:pt x="56" y="1040"/>
                </a:lnTo>
                <a:lnTo>
                  <a:pt x="48" y="1031"/>
                </a:lnTo>
                <a:lnTo>
                  <a:pt x="42" y="1023"/>
                </a:lnTo>
                <a:lnTo>
                  <a:pt x="39" y="1016"/>
                </a:lnTo>
                <a:lnTo>
                  <a:pt x="37" y="1008"/>
                </a:lnTo>
                <a:lnTo>
                  <a:pt x="41" y="999"/>
                </a:lnTo>
                <a:lnTo>
                  <a:pt x="48" y="991"/>
                </a:lnTo>
                <a:lnTo>
                  <a:pt x="66" y="969"/>
                </a:lnTo>
                <a:lnTo>
                  <a:pt x="85" y="945"/>
                </a:lnTo>
                <a:lnTo>
                  <a:pt x="90" y="930"/>
                </a:lnTo>
                <a:lnTo>
                  <a:pt x="96" y="920"/>
                </a:lnTo>
                <a:lnTo>
                  <a:pt x="100" y="917"/>
                </a:lnTo>
                <a:lnTo>
                  <a:pt x="105" y="913"/>
                </a:lnTo>
                <a:lnTo>
                  <a:pt x="108" y="912"/>
                </a:lnTo>
                <a:lnTo>
                  <a:pt x="113" y="910"/>
                </a:lnTo>
                <a:lnTo>
                  <a:pt x="113" y="896"/>
                </a:lnTo>
                <a:lnTo>
                  <a:pt x="113" y="885"/>
                </a:lnTo>
                <a:lnTo>
                  <a:pt x="112" y="871"/>
                </a:lnTo>
                <a:lnTo>
                  <a:pt x="112" y="858"/>
                </a:lnTo>
                <a:lnTo>
                  <a:pt x="100" y="837"/>
                </a:lnTo>
                <a:lnTo>
                  <a:pt x="88" y="816"/>
                </a:lnTo>
                <a:lnTo>
                  <a:pt x="73" y="800"/>
                </a:lnTo>
                <a:lnTo>
                  <a:pt x="56" y="787"/>
                </a:lnTo>
                <a:lnTo>
                  <a:pt x="41" y="772"/>
                </a:lnTo>
                <a:lnTo>
                  <a:pt x="26" y="757"/>
                </a:lnTo>
                <a:lnTo>
                  <a:pt x="14" y="745"/>
                </a:lnTo>
                <a:lnTo>
                  <a:pt x="7" y="733"/>
                </a:lnTo>
                <a:lnTo>
                  <a:pt x="5" y="728"/>
                </a:lnTo>
                <a:lnTo>
                  <a:pt x="5" y="721"/>
                </a:lnTo>
                <a:lnTo>
                  <a:pt x="5" y="716"/>
                </a:lnTo>
                <a:lnTo>
                  <a:pt x="7" y="709"/>
                </a:lnTo>
                <a:lnTo>
                  <a:pt x="7" y="699"/>
                </a:lnTo>
                <a:lnTo>
                  <a:pt x="7" y="689"/>
                </a:lnTo>
                <a:lnTo>
                  <a:pt x="4" y="679"/>
                </a:lnTo>
                <a:lnTo>
                  <a:pt x="0" y="669"/>
                </a:lnTo>
                <a:lnTo>
                  <a:pt x="0" y="651"/>
                </a:lnTo>
                <a:lnTo>
                  <a:pt x="2" y="634"/>
                </a:lnTo>
                <a:lnTo>
                  <a:pt x="5" y="622"/>
                </a:lnTo>
                <a:lnTo>
                  <a:pt x="11" y="610"/>
                </a:lnTo>
                <a:lnTo>
                  <a:pt x="17" y="602"/>
                </a:lnTo>
                <a:lnTo>
                  <a:pt x="24" y="595"/>
                </a:lnTo>
                <a:lnTo>
                  <a:pt x="32" y="590"/>
                </a:lnTo>
                <a:lnTo>
                  <a:pt x="42" y="587"/>
                </a:lnTo>
                <a:lnTo>
                  <a:pt x="61" y="593"/>
                </a:lnTo>
                <a:lnTo>
                  <a:pt x="78" y="600"/>
                </a:lnTo>
                <a:lnTo>
                  <a:pt x="80" y="597"/>
                </a:lnTo>
                <a:lnTo>
                  <a:pt x="80" y="592"/>
                </a:lnTo>
                <a:lnTo>
                  <a:pt x="78" y="588"/>
                </a:lnTo>
                <a:lnTo>
                  <a:pt x="76" y="585"/>
                </a:lnTo>
                <a:lnTo>
                  <a:pt x="66" y="576"/>
                </a:lnTo>
                <a:lnTo>
                  <a:pt x="54" y="568"/>
                </a:lnTo>
                <a:lnTo>
                  <a:pt x="56" y="551"/>
                </a:lnTo>
                <a:lnTo>
                  <a:pt x="59" y="536"/>
                </a:lnTo>
                <a:lnTo>
                  <a:pt x="63" y="531"/>
                </a:lnTo>
                <a:lnTo>
                  <a:pt x="68" y="526"/>
                </a:lnTo>
                <a:lnTo>
                  <a:pt x="73" y="523"/>
                </a:lnTo>
                <a:lnTo>
                  <a:pt x="78" y="519"/>
                </a:lnTo>
                <a:lnTo>
                  <a:pt x="83" y="507"/>
                </a:lnTo>
                <a:lnTo>
                  <a:pt x="88" y="497"/>
                </a:lnTo>
                <a:lnTo>
                  <a:pt x="93" y="489"/>
                </a:lnTo>
                <a:lnTo>
                  <a:pt x="100" y="482"/>
                </a:lnTo>
                <a:lnTo>
                  <a:pt x="105" y="477"/>
                </a:lnTo>
                <a:lnTo>
                  <a:pt x="112" y="472"/>
                </a:lnTo>
                <a:lnTo>
                  <a:pt x="118" y="470"/>
                </a:lnTo>
                <a:lnTo>
                  <a:pt x="127" y="469"/>
                </a:lnTo>
                <a:lnTo>
                  <a:pt x="145" y="472"/>
                </a:lnTo>
                <a:lnTo>
                  <a:pt x="165" y="470"/>
                </a:lnTo>
                <a:lnTo>
                  <a:pt x="175" y="470"/>
                </a:lnTo>
                <a:lnTo>
                  <a:pt x="184" y="467"/>
                </a:lnTo>
                <a:lnTo>
                  <a:pt x="194" y="464"/>
                </a:lnTo>
                <a:lnTo>
                  <a:pt x="202" y="460"/>
                </a:lnTo>
                <a:lnTo>
                  <a:pt x="216" y="454"/>
                </a:lnTo>
                <a:lnTo>
                  <a:pt x="229" y="448"/>
                </a:lnTo>
                <a:lnTo>
                  <a:pt x="236" y="448"/>
                </a:lnTo>
                <a:lnTo>
                  <a:pt x="244" y="448"/>
                </a:lnTo>
                <a:lnTo>
                  <a:pt x="253" y="450"/>
                </a:lnTo>
                <a:lnTo>
                  <a:pt x="263" y="454"/>
                </a:lnTo>
                <a:lnTo>
                  <a:pt x="276" y="450"/>
                </a:lnTo>
                <a:lnTo>
                  <a:pt x="290" y="447"/>
                </a:lnTo>
                <a:lnTo>
                  <a:pt x="305" y="445"/>
                </a:lnTo>
                <a:lnTo>
                  <a:pt x="319" y="442"/>
                </a:lnTo>
                <a:lnTo>
                  <a:pt x="344" y="448"/>
                </a:lnTo>
                <a:lnTo>
                  <a:pt x="366" y="452"/>
                </a:lnTo>
                <a:lnTo>
                  <a:pt x="383" y="452"/>
                </a:lnTo>
                <a:lnTo>
                  <a:pt x="396" y="450"/>
                </a:lnTo>
                <a:lnTo>
                  <a:pt x="418" y="440"/>
                </a:lnTo>
                <a:lnTo>
                  <a:pt x="438" y="432"/>
                </a:lnTo>
                <a:lnTo>
                  <a:pt x="443" y="427"/>
                </a:lnTo>
                <a:lnTo>
                  <a:pt x="450" y="422"/>
                </a:lnTo>
                <a:lnTo>
                  <a:pt x="457" y="418"/>
                </a:lnTo>
                <a:lnTo>
                  <a:pt x="463" y="416"/>
                </a:lnTo>
                <a:lnTo>
                  <a:pt x="470" y="415"/>
                </a:lnTo>
                <a:lnTo>
                  <a:pt x="478" y="416"/>
                </a:lnTo>
                <a:lnTo>
                  <a:pt x="485" y="418"/>
                </a:lnTo>
                <a:lnTo>
                  <a:pt x="494" y="422"/>
                </a:lnTo>
                <a:lnTo>
                  <a:pt x="512" y="422"/>
                </a:lnTo>
                <a:lnTo>
                  <a:pt x="531" y="425"/>
                </a:lnTo>
                <a:lnTo>
                  <a:pt x="541" y="427"/>
                </a:lnTo>
                <a:lnTo>
                  <a:pt x="547" y="430"/>
                </a:lnTo>
                <a:lnTo>
                  <a:pt x="556" y="433"/>
                </a:lnTo>
                <a:lnTo>
                  <a:pt x="563" y="438"/>
                </a:lnTo>
                <a:lnTo>
                  <a:pt x="569" y="445"/>
                </a:lnTo>
                <a:lnTo>
                  <a:pt x="576" y="448"/>
                </a:lnTo>
                <a:lnTo>
                  <a:pt x="583" y="452"/>
                </a:lnTo>
                <a:lnTo>
                  <a:pt x="588" y="454"/>
                </a:lnTo>
                <a:lnTo>
                  <a:pt x="593" y="454"/>
                </a:lnTo>
                <a:lnTo>
                  <a:pt x="598" y="450"/>
                </a:lnTo>
                <a:lnTo>
                  <a:pt x="601" y="445"/>
                </a:lnTo>
                <a:lnTo>
                  <a:pt x="605" y="437"/>
                </a:lnTo>
                <a:lnTo>
                  <a:pt x="603" y="423"/>
                </a:lnTo>
                <a:lnTo>
                  <a:pt x="603" y="411"/>
                </a:lnTo>
                <a:lnTo>
                  <a:pt x="603" y="401"/>
                </a:lnTo>
                <a:lnTo>
                  <a:pt x="605" y="393"/>
                </a:lnTo>
                <a:lnTo>
                  <a:pt x="608" y="384"/>
                </a:lnTo>
                <a:lnTo>
                  <a:pt x="611" y="379"/>
                </a:lnTo>
                <a:lnTo>
                  <a:pt x="618" y="376"/>
                </a:lnTo>
                <a:lnTo>
                  <a:pt x="625" y="373"/>
                </a:lnTo>
                <a:lnTo>
                  <a:pt x="622" y="354"/>
                </a:lnTo>
                <a:lnTo>
                  <a:pt x="618" y="336"/>
                </a:lnTo>
                <a:lnTo>
                  <a:pt x="613" y="322"/>
                </a:lnTo>
                <a:lnTo>
                  <a:pt x="610" y="312"/>
                </a:lnTo>
                <a:lnTo>
                  <a:pt x="610" y="304"/>
                </a:lnTo>
                <a:lnTo>
                  <a:pt x="611" y="299"/>
                </a:lnTo>
                <a:lnTo>
                  <a:pt x="615" y="295"/>
                </a:lnTo>
                <a:lnTo>
                  <a:pt x="620" y="294"/>
                </a:lnTo>
                <a:lnTo>
                  <a:pt x="627" y="294"/>
                </a:lnTo>
                <a:lnTo>
                  <a:pt x="633" y="297"/>
                </a:lnTo>
                <a:lnTo>
                  <a:pt x="627" y="277"/>
                </a:lnTo>
                <a:lnTo>
                  <a:pt x="618" y="256"/>
                </a:lnTo>
                <a:lnTo>
                  <a:pt x="611" y="245"/>
                </a:lnTo>
                <a:lnTo>
                  <a:pt x="608" y="233"/>
                </a:lnTo>
                <a:lnTo>
                  <a:pt x="605" y="224"/>
                </a:lnTo>
                <a:lnTo>
                  <a:pt x="605" y="214"/>
                </a:lnTo>
                <a:lnTo>
                  <a:pt x="606" y="208"/>
                </a:lnTo>
                <a:lnTo>
                  <a:pt x="608" y="201"/>
                </a:lnTo>
                <a:lnTo>
                  <a:pt x="613" y="196"/>
                </a:lnTo>
                <a:lnTo>
                  <a:pt x="618" y="191"/>
                </a:lnTo>
                <a:lnTo>
                  <a:pt x="628" y="179"/>
                </a:lnTo>
                <a:lnTo>
                  <a:pt x="638" y="167"/>
                </a:lnTo>
                <a:lnTo>
                  <a:pt x="625" y="149"/>
                </a:lnTo>
                <a:lnTo>
                  <a:pt x="613" y="130"/>
                </a:lnTo>
                <a:lnTo>
                  <a:pt x="610" y="128"/>
                </a:lnTo>
                <a:lnTo>
                  <a:pt x="608" y="125"/>
                </a:lnTo>
                <a:lnTo>
                  <a:pt x="606" y="118"/>
                </a:lnTo>
                <a:lnTo>
                  <a:pt x="606" y="112"/>
                </a:lnTo>
                <a:lnTo>
                  <a:pt x="606" y="105"/>
                </a:lnTo>
                <a:lnTo>
                  <a:pt x="606" y="95"/>
                </a:lnTo>
                <a:lnTo>
                  <a:pt x="603" y="85"/>
                </a:lnTo>
                <a:lnTo>
                  <a:pt x="600" y="75"/>
                </a:lnTo>
                <a:lnTo>
                  <a:pt x="598" y="66"/>
                </a:lnTo>
                <a:lnTo>
                  <a:pt x="595" y="59"/>
                </a:lnTo>
                <a:lnTo>
                  <a:pt x="593" y="51"/>
                </a:lnTo>
                <a:lnTo>
                  <a:pt x="593" y="44"/>
                </a:lnTo>
                <a:lnTo>
                  <a:pt x="595" y="38"/>
                </a:lnTo>
                <a:lnTo>
                  <a:pt x="600" y="32"/>
                </a:lnTo>
                <a:lnTo>
                  <a:pt x="606" y="29"/>
                </a:lnTo>
                <a:lnTo>
                  <a:pt x="618" y="27"/>
                </a:lnTo>
                <a:lnTo>
                  <a:pt x="632" y="19"/>
                </a:lnTo>
                <a:lnTo>
                  <a:pt x="637" y="17"/>
                </a:lnTo>
                <a:lnTo>
                  <a:pt x="640" y="21"/>
                </a:lnTo>
                <a:lnTo>
                  <a:pt x="648" y="29"/>
                </a:lnTo>
                <a:lnTo>
                  <a:pt x="655" y="32"/>
                </a:lnTo>
                <a:lnTo>
                  <a:pt x="662" y="34"/>
                </a:lnTo>
                <a:lnTo>
                  <a:pt x="670" y="32"/>
                </a:lnTo>
                <a:lnTo>
                  <a:pt x="677" y="29"/>
                </a:lnTo>
                <a:lnTo>
                  <a:pt x="697" y="21"/>
                </a:lnTo>
                <a:lnTo>
                  <a:pt x="717" y="12"/>
                </a:lnTo>
                <a:lnTo>
                  <a:pt x="724" y="19"/>
                </a:lnTo>
                <a:lnTo>
                  <a:pt x="731" y="24"/>
                </a:lnTo>
                <a:lnTo>
                  <a:pt x="738" y="27"/>
                </a:lnTo>
                <a:lnTo>
                  <a:pt x="746" y="29"/>
                </a:lnTo>
                <a:lnTo>
                  <a:pt x="755" y="29"/>
                </a:lnTo>
                <a:lnTo>
                  <a:pt x="763" y="26"/>
                </a:lnTo>
                <a:lnTo>
                  <a:pt x="773" y="22"/>
                </a:lnTo>
                <a:lnTo>
                  <a:pt x="783" y="14"/>
                </a:lnTo>
                <a:lnTo>
                  <a:pt x="785" y="9"/>
                </a:lnTo>
                <a:lnTo>
                  <a:pt x="787" y="4"/>
                </a:lnTo>
                <a:lnTo>
                  <a:pt x="790" y="2"/>
                </a:lnTo>
                <a:lnTo>
                  <a:pt x="793" y="0"/>
                </a:lnTo>
                <a:lnTo>
                  <a:pt x="797" y="0"/>
                </a:lnTo>
                <a:lnTo>
                  <a:pt x="800" y="2"/>
                </a:lnTo>
                <a:lnTo>
                  <a:pt x="805" y="6"/>
                </a:lnTo>
                <a:lnTo>
                  <a:pt x="812" y="11"/>
                </a:lnTo>
                <a:lnTo>
                  <a:pt x="810" y="16"/>
                </a:lnTo>
                <a:lnTo>
                  <a:pt x="810" y="21"/>
                </a:lnTo>
                <a:lnTo>
                  <a:pt x="810" y="26"/>
                </a:lnTo>
                <a:lnTo>
                  <a:pt x="812" y="29"/>
                </a:lnTo>
                <a:lnTo>
                  <a:pt x="815" y="31"/>
                </a:lnTo>
                <a:lnTo>
                  <a:pt x="818" y="32"/>
                </a:lnTo>
                <a:lnTo>
                  <a:pt x="822" y="34"/>
                </a:lnTo>
                <a:lnTo>
                  <a:pt x="827" y="34"/>
                </a:lnTo>
                <a:lnTo>
                  <a:pt x="830" y="41"/>
                </a:lnTo>
                <a:lnTo>
                  <a:pt x="835" y="48"/>
                </a:lnTo>
                <a:lnTo>
                  <a:pt x="840" y="53"/>
                </a:lnTo>
                <a:lnTo>
                  <a:pt x="847" y="58"/>
                </a:lnTo>
                <a:lnTo>
                  <a:pt x="854" y="59"/>
                </a:lnTo>
                <a:lnTo>
                  <a:pt x="862" y="63"/>
                </a:lnTo>
                <a:lnTo>
                  <a:pt x="872" y="63"/>
                </a:lnTo>
                <a:lnTo>
                  <a:pt x="881" y="63"/>
                </a:lnTo>
                <a:lnTo>
                  <a:pt x="911" y="59"/>
                </a:lnTo>
                <a:lnTo>
                  <a:pt x="941" y="59"/>
                </a:lnTo>
                <a:lnTo>
                  <a:pt x="957" y="59"/>
                </a:lnTo>
                <a:lnTo>
                  <a:pt x="972" y="61"/>
                </a:lnTo>
                <a:lnTo>
                  <a:pt x="988" y="64"/>
                </a:lnTo>
                <a:lnTo>
                  <a:pt x="1004" y="68"/>
                </a:lnTo>
                <a:lnTo>
                  <a:pt x="1010" y="73"/>
                </a:lnTo>
                <a:lnTo>
                  <a:pt x="1017" y="78"/>
                </a:lnTo>
                <a:lnTo>
                  <a:pt x="1026" y="81"/>
                </a:lnTo>
                <a:lnTo>
                  <a:pt x="1034" y="83"/>
                </a:lnTo>
                <a:lnTo>
                  <a:pt x="1042" y="85"/>
                </a:lnTo>
                <a:lnTo>
                  <a:pt x="1054" y="86"/>
                </a:lnTo>
                <a:lnTo>
                  <a:pt x="1064" y="86"/>
                </a:lnTo>
                <a:lnTo>
                  <a:pt x="1078" y="85"/>
                </a:lnTo>
                <a:lnTo>
                  <a:pt x="1086" y="83"/>
                </a:lnTo>
                <a:lnTo>
                  <a:pt x="1093" y="81"/>
                </a:lnTo>
                <a:lnTo>
                  <a:pt x="1096" y="83"/>
                </a:lnTo>
                <a:lnTo>
                  <a:pt x="1098" y="85"/>
                </a:lnTo>
                <a:lnTo>
                  <a:pt x="1100" y="86"/>
                </a:lnTo>
                <a:lnTo>
                  <a:pt x="1100" y="90"/>
                </a:lnTo>
                <a:lnTo>
                  <a:pt x="1103" y="95"/>
                </a:lnTo>
                <a:lnTo>
                  <a:pt x="1106" y="96"/>
                </a:lnTo>
                <a:lnTo>
                  <a:pt x="1110" y="98"/>
                </a:lnTo>
                <a:lnTo>
                  <a:pt x="1113" y="98"/>
                </a:lnTo>
                <a:lnTo>
                  <a:pt x="1121" y="95"/>
                </a:lnTo>
                <a:lnTo>
                  <a:pt x="1128" y="90"/>
                </a:lnTo>
                <a:lnTo>
                  <a:pt x="1140" y="80"/>
                </a:lnTo>
                <a:lnTo>
                  <a:pt x="1153" y="68"/>
                </a:lnTo>
                <a:lnTo>
                  <a:pt x="1160" y="80"/>
                </a:lnTo>
                <a:lnTo>
                  <a:pt x="1169" y="93"/>
                </a:lnTo>
                <a:lnTo>
                  <a:pt x="1175" y="102"/>
                </a:lnTo>
                <a:lnTo>
                  <a:pt x="1179" y="110"/>
                </a:lnTo>
                <a:lnTo>
                  <a:pt x="1180" y="118"/>
                </a:lnTo>
                <a:lnTo>
                  <a:pt x="1180" y="128"/>
                </a:lnTo>
                <a:lnTo>
                  <a:pt x="1177" y="139"/>
                </a:lnTo>
                <a:lnTo>
                  <a:pt x="1174" y="147"/>
                </a:lnTo>
                <a:lnTo>
                  <a:pt x="1167" y="157"/>
                </a:lnTo>
                <a:lnTo>
                  <a:pt x="1159" y="167"/>
                </a:lnTo>
                <a:lnTo>
                  <a:pt x="1148" y="179"/>
                </a:lnTo>
                <a:lnTo>
                  <a:pt x="1140" y="187"/>
                </a:lnTo>
                <a:lnTo>
                  <a:pt x="1135" y="196"/>
                </a:lnTo>
                <a:lnTo>
                  <a:pt x="1133" y="203"/>
                </a:lnTo>
                <a:lnTo>
                  <a:pt x="1133" y="208"/>
                </a:lnTo>
                <a:lnTo>
                  <a:pt x="1137" y="211"/>
                </a:lnTo>
                <a:lnTo>
                  <a:pt x="1143" y="213"/>
                </a:lnTo>
                <a:lnTo>
                  <a:pt x="1152" y="213"/>
                </a:lnTo>
                <a:lnTo>
                  <a:pt x="1160" y="230"/>
                </a:lnTo>
                <a:lnTo>
                  <a:pt x="1170" y="246"/>
                </a:lnTo>
                <a:lnTo>
                  <a:pt x="1179" y="263"/>
                </a:lnTo>
                <a:lnTo>
                  <a:pt x="1187" y="278"/>
                </a:lnTo>
                <a:lnTo>
                  <a:pt x="1190" y="290"/>
                </a:lnTo>
                <a:lnTo>
                  <a:pt x="1192" y="299"/>
                </a:lnTo>
                <a:lnTo>
                  <a:pt x="1192" y="307"/>
                </a:lnTo>
                <a:lnTo>
                  <a:pt x="1190" y="314"/>
                </a:lnTo>
                <a:lnTo>
                  <a:pt x="1189" y="319"/>
                </a:lnTo>
                <a:lnTo>
                  <a:pt x="1184" y="324"/>
                </a:lnTo>
                <a:lnTo>
                  <a:pt x="1180" y="327"/>
                </a:lnTo>
                <a:lnTo>
                  <a:pt x="1175" y="331"/>
                </a:lnTo>
                <a:lnTo>
                  <a:pt x="1169" y="339"/>
                </a:lnTo>
                <a:lnTo>
                  <a:pt x="1164" y="347"/>
                </a:lnTo>
                <a:lnTo>
                  <a:pt x="1160" y="356"/>
                </a:lnTo>
                <a:lnTo>
                  <a:pt x="1157" y="364"/>
                </a:lnTo>
                <a:lnTo>
                  <a:pt x="1155" y="373"/>
                </a:lnTo>
                <a:lnTo>
                  <a:pt x="1155" y="381"/>
                </a:lnTo>
                <a:lnTo>
                  <a:pt x="1155" y="390"/>
                </a:lnTo>
                <a:lnTo>
                  <a:pt x="1155" y="398"/>
                </a:lnTo>
                <a:lnTo>
                  <a:pt x="1153" y="411"/>
                </a:lnTo>
                <a:lnTo>
                  <a:pt x="1152" y="422"/>
                </a:lnTo>
                <a:lnTo>
                  <a:pt x="1153" y="430"/>
                </a:lnTo>
                <a:lnTo>
                  <a:pt x="1159" y="435"/>
                </a:lnTo>
                <a:lnTo>
                  <a:pt x="1164" y="437"/>
                </a:lnTo>
                <a:lnTo>
                  <a:pt x="1170" y="438"/>
                </a:lnTo>
                <a:lnTo>
                  <a:pt x="1179" y="438"/>
                </a:lnTo>
                <a:lnTo>
                  <a:pt x="1187" y="438"/>
                </a:lnTo>
                <a:lnTo>
                  <a:pt x="1202" y="435"/>
                </a:lnTo>
                <a:lnTo>
                  <a:pt x="1216" y="433"/>
                </a:lnTo>
                <a:lnTo>
                  <a:pt x="1219" y="435"/>
                </a:lnTo>
                <a:lnTo>
                  <a:pt x="1221" y="437"/>
                </a:lnTo>
                <a:lnTo>
                  <a:pt x="1221" y="440"/>
                </a:lnTo>
                <a:lnTo>
                  <a:pt x="1217" y="445"/>
                </a:lnTo>
                <a:lnTo>
                  <a:pt x="1206" y="459"/>
                </a:lnTo>
                <a:lnTo>
                  <a:pt x="1197" y="470"/>
                </a:lnTo>
                <a:lnTo>
                  <a:pt x="1192" y="477"/>
                </a:lnTo>
                <a:lnTo>
                  <a:pt x="1190" y="482"/>
                </a:lnTo>
                <a:lnTo>
                  <a:pt x="1189" y="489"/>
                </a:lnTo>
                <a:lnTo>
                  <a:pt x="1189" y="496"/>
                </a:lnTo>
                <a:lnTo>
                  <a:pt x="1184" y="509"/>
                </a:lnTo>
                <a:lnTo>
                  <a:pt x="1180" y="521"/>
                </a:lnTo>
                <a:lnTo>
                  <a:pt x="1182" y="533"/>
                </a:lnTo>
                <a:lnTo>
                  <a:pt x="1184" y="543"/>
                </a:lnTo>
                <a:lnTo>
                  <a:pt x="1189" y="551"/>
                </a:lnTo>
                <a:lnTo>
                  <a:pt x="1194" y="560"/>
                </a:lnTo>
                <a:lnTo>
                  <a:pt x="1202" y="568"/>
                </a:lnTo>
                <a:lnTo>
                  <a:pt x="1209" y="576"/>
                </a:lnTo>
                <a:lnTo>
                  <a:pt x="1216" y="590"/>
                </a:lnTo>
                <a:lnTo>
                  <a:pt x="1222" y="602"/>
                </a:lnTo>
                <a:lnTo>
                  <a:pt x="1226" y="605"/>
                </a:lnTo>
                <a:lnTo>
                  <a:pt x="1231" y="608"/>
                </a:lnTo>
                <a:lnTo>
                  <a:pt x="1234" y="612"/>
                </a:lnTo>
                <a:lnTo>
                  <a:pt x="1241" y="612"/>
                </a:lnTo>
                <a:lnTo>
                  <a:pt x="1248" y="624"/>
                </a:lnTo>
                <a:lnTo>
                  <a:pt x="1256" y="632"/>
                </a:lnTo>
                <a:lnTo>
                  <a:pt x="1263" y="640"/>
                </a:lnTo>
                <a:lnTo>
                  <a:pt x="1271" y="647"/>
                </a:lnTo>
                <a:lnTo>
                  <a:pt x="1280" y="654"/>
                </a:lnTo>
                <a:lnTo>
                  <a:pt x="1290" y="657"/>
                </a:lnTo>
                <a:lnTo>
                  <a:pt x="1300" y="661"/>
                </a:lnTo>
                <a:lnTo>
                  <a:pt x="1310" y="664"/>
                </a:lnTo>
                <a:lnTo>
                  <a:pt x="1312" y="666"/>
                </a:lnTo>
                <a:lnTo>
                  <a:pt x="1315" y="669"/>
                </a:lnTo>
                <a:lnTo>
                  <a:pt x="1320" y="671"/>
                </a:lnTo>
                <a:lnTo>
                  <a:pt x="1323" y="671"/>
                </a:lnTo>
                <a:lnTo>
                  <a:pt x="1334" y="671"/>
                </a:lnTo>
                <a:lnTo>
                  <a:pt x="1345" y="666"/>
                </a:lnTo>
                <a:lnTo>
                  <a:pt x="1357" y="664"/>
                </a:lnTo>
                <a:lnTo>
                  <a:pt x="1364" y="664"/>
                </a:lnTo>
                <a:lnTo>
                  <a:pt x="1367" y="664"/>
                </a:lnTo>
                <a:lnTo>
                  <a:pt x="1369" y="666"/>
                </a:lnTo>
                <a:lnTo>
                  <a:pt x="1369" y="667"/>
                </a:lnTo>
                <a:lnTo>
                  <a:pt x="1371" y="669"/>
                </a:lnTo>
                <a:lnTo>
                  <a:pt x="1384" y="681"/>
                </a:lnTo>
                <a:lnTo>
                  <a:pt x="1399" y="691"/>
                </a:lnTo>
                <a:lnTo>
                  <a:pt x="1413" y="698"/>
                </a:lnTo>
                <a:lnTo>
                  <a:pt x="1426" y="701"/>
                </a:lnTo>
                <a:lnTo>
                  <a:pt x="1438" y="704"/>
                </a:lnTo>
                <a:lnTo>
                  <a:pt x="1451" y="704"/>
                </a:lnTo>
                <a:lnTo>
                  <a:pt x="1463" y="703"/>
                </a:lnTo>
                <a:lnTo>
                  <a:pt x="1475" y="701"/>
                </a:lnTo>
                <a:lnTo>
                  <a:pt x="1482" y="698"/>
                </a:lnTo>
                <a:lnTo>
                  <a:pt x="1488" y="698"/>
                </a:lnTo>
                <a:lnTo>
                  <a:pt x="1495" y="699"/>
                </a:lnTo>
                <a:lnTo>
                  <a:pt x="1500" y="703"/>
                </a:lnTo>
                <a:lnTo>
                  <a:pt x="1504" y="708"/>
                </a:lnTo>
                <a:lnTo>
                  <a:pt x="1507" y="716"/>
                </a:lnTo>
                <a:lnTo>
                  <a:pt x="1509" y="725"/>
                </a:lnTo>
                <a:lnTo>
                  <a:pt x="1509" y="736"/>
                </a:lnTo>
                <a:lnTo>
                  <a:pt x="1536" y="758"/>
                </a:lnTo>
                <a:lnTo>
                  <a:pt x="1562" y="780"/>
                </a:lnTo>
                <a:lnTo>
                  <a:pt x="1588" y="800"/>
                </a:lnTo>
                <a:lnTo>
                  <a:pt x="1615" y="822"/>
                </a:lnTo>
                <a:lnTo>
                  <a:pt x="1615" y="824"/>
                </a:lnTo>
                <a:lnTo>
                  <a:pt x="1615" y="827"/>
                </a:lnTo>
                <a:lnTo>
                  <a:pt x="1600" y="837"/>
                </a:lnTo>
                <a:lnTo>
                  <a:pt x="1586" y="844"/>
                </a:lnTo>
                <a:lnTo>
                  <a:pt x="1573" y="848"/>
                </a:lnTo>
                <a:lnTo>
                  <a:pt x="1559" y="849"/>
                </a:lnTo>
                <a:lnTo>
                  <a:pt x="1554" y="854"/>
                </a:lnTo>
                <a:lnTo>
                  <a:pt x="1551" y="859"/>
                </a:lnTo>
                <a:lnTo>
                  <a:pt x="1549" y="864"/>
                </a:lnTo>
                <a:lnTo>
                  <a:pt x="1549" y="868"/>
                </a:lnTo>
                <a:lnTo>
                  <a:pt x="1551" y="871"/>
                </a:lnTo>
                <a:lnTo>
                  <a:pt x="1554" y="875"/>
                </a:lnTo>
                <a:lnTo>
                  <a:pt x="1561" y="878"/>
                </a:lnTo>
                <a:lnTo>
                  <a:pt x="1568" y="880"/>
                </a:lnTo>
                <a:lnTo>
                  <a:pt x="1578" y="883"/>
                </a:lnTo>
                <a:lnTo>
                  <a:pt x="1588" y="886"/>
                </a:lnTo>
                <a:lnTo>
                  <a:pt x="1596" y="888"/>
                </a:lnTo>
                <a:lnTo>
                  <a:pt x="1601" y="890"/>
                </a:lnTo>
                <a:lnTo>
                  <a:pt x="1603" y="893"/>
                </a:lnTo>
                <a:lnTo>
                  <a:pt x="1603" y="895"/>
                </a:lnTo>
                <a:lnTo>
                  <a:pt x="1601" y="896"/>
                </a:lnTo>
                <a:lnTo>
                  <a:pt x="1596" y="900"/>
                </a:lnTo>
                <a:lnTo>
                  <a:pt x="1588" y="903"/>
                </a:lnTo>
                <a:lnTo>
                  <a:pt x="1578" y="905"/>
                </a:lnTo>
                <a:lnTo>
                  <a:pt x="1568" y="905"/>
                </a:lnTo>
                <a:lnTo>
                  <a:pt x="1556" y="905"/>
                </a:lnTo>
                <a:lnTo>
                  <a:pt x="1546" y="907"/>
                </a:lnTo>
                <a:lnTo>
                  <a:pt x="1534" y="912"/>
                </a:lnTo>
                <a:lnTo>
                  <a:pt x="1524" y="915"/>
                </a:lnTo>
                <a:lnTo>
                  <a:pt x="1514" y="918"/>
                </a:lnTo>
                <a:lnTo>
                  <a:pt x="1493" y="920"/>
                </a:lnTo>
                <a:lnTo>
                  <a:pt x="1473" y="922"/>
                </a:lnTo>
                <a:lnTo>
                  <a:pt x="1467" y="922"/>
                </a:lnTo>
                <a:lnTo>
                  <a:pt x="1461" y="923"/>
                </a:lnTo>
                <a:lnTo>
                  <a:pt x="1455" y="925"/>
                </a:lnTo>
                <a:lnTo>
                  <a:pt x="1448" y="930"/>
                </a:lnTo>
                <a:lnTo>
                  <a:pt x="1431" y="942"/>
                </a:lnTo>
                <a:lnTo>
                  <a:pt x="1413" y="954"/>
                </a:lnTo>
                <a:lnTo>
                  <a:pt x="1394" y="965"/>
                </a:lnTo>
                <a:lnTo>
                  <a:pt x="1377" y="976"/>
                </a:lnTo>
                <a:lnTo>
                  <a:pt x="1381" y="987"/>
                </a:lnTo>
                <a:lnTo>
                  <a:pt x="1382" y="997"/>
                </a:lnTo>
                <a:lnTo>
                  <a:pt x="1382" y="1006"/>
                </a:lnTo>
                <a:lnTo>
                  <a:pt x="1381" y="1014"/>
                </a:lnTo>
                <a:lnTo>
                  <a:pt x="1379" y="1021"/>
                </a:lnTo>
                <a:lnTo>
                  <a:pt x="1376" y="1028"/>
                </a:lnTo>
                <a:lnTo>
                  <a:pt x="1372" y="1033"/>
                </a:lnTo>
                <a:lnTo>
                  <a:pt x="1367" y="1038"/>
                </a:lnTo>
                <a:lnTo>
                  <a:pt x="1357" y="1046"/>
                </a:lnTo>
                <a:lnTo>
                  <a:pt x="1344" y="1055"/>
                </a:lnTo>
                <a:lnTo>
                  <a:pt x="1330" y="1060"/>
                </a:lnTo>
                <a:lnTo>
                  <a:pt x="1315" y="1066"/>
                </a:lnTo>
                <a:lnTo>
                  <a:pt x="1307" y="1068"/>
                </a:lnTo>
                <a:lnTo>
                  <a:pt x="1298" y="1072"/>
                </a:lnTo>
                <a:lnTo>
                  <a:pt x="1291" y="1077"/>
                </a:lnTo>
                <a:lnTo>
                  <a:pt x="1283" y="1082"/>
                </a:lnTo>
                <a:lnTo>
                  <a:pt x="1271" y="1092"/>
                </a:lnTo>
                <a:lnTo>
                  <a:pt x="1260" y="1105"/>
                </a:lnTo>
                <a:lnTo>
                  <a:pt x="1253" y="1110"/>
                </a:lnTo>
                <a:lnTo>
                  <a:pt x="1246" y="1115"/>
                </a:lnTo>
                <a:lnTo>
                  <a:pt x="1238" y="1119"/>
                </a:lnTo>
                <a:lnTo>
                  <a:pt x="1231" y="1120"/>
                </a:lnTo>
                <a:lnTo>
                  <a:pt x="1214" y="1120"/>
                </a:lnTo>
                <a:lnTo>
                  <a:pt x="1199" y="1119"/>
                </a:lnTo>
                <a:lnTo>
                  <a:pt x="1187" y="1117"/>
                </a:lnTo>
                <a:lnTo>
                  <a:pt x="1179" y="1115"/>
                </a:lnTo>
                <a:lnTo>
                  <a:pt x="1170" y="1117"/>
                </a:lnTo>
                <a:lnTo>
                  <a:pt x="1165" y="1119"/>
                </a:lnTo>
                <a:lnTo>
                  <a:pt x="1159" y="1122"/>
                </a:lnTo>
                <a:lnTo>
                  <a:pt x="1155" y="1127"/>
                </a:lnTo>
                <a:lnTo>
                  <a:pt x="1150" y="1132"/>
                </a:lnTo>
                <a:lnTo>
                  <a:pt x="1147" y="1139"/>
                </a:lnTo>
                <a:lnTo>
                  <a:pt x="1142" y="1149"/>
                </a:lnTo>
                <a:lnTo>
                  <a:pt x="1137" y="1154"/>
                </a:lnTo>
                <a:lnTo>
                  <a:pt x="1130" y="1157"/>
                </a:lnTo>
                <a:lnTo>
                  <a:pt x="1125" y="1157"/>
                </a:lnTo>
                <a:lnTo>
                  <a:pt x="1120" y="1156"/>
                </a:lnTo>
                <a:lnTo>
                  <a:pt x="1113" y="1151"/>
                </a:lnTo>
                <a:lnTo>
                  <a:pt x="1108" y="1146"/>
                </a:lnTo>
                <a:lnTo>
                  <a:pt x="1103" y="1139"/>
                </a:lnTo>
                <a:lnTo>
                  <a:pt x="1089" y="1129"/>
                </a:lnTo>
                <a:lnTo>
                  <a:pt x="1079" y="1122"/>
                </a:lnTo>
                <a:lnTo>
                  <a:pt x="1074" y="1120"/>
                </a:lnTo>
                <a:lnTo>
                  <a:pt x="1069" y="1120"/>
                </a:lnTo>
                <a:lnTo>
                  <a:pt x="1066" y="1120"/>
                </a:lnTo>
                <a:lnTo>
                  <a:pt x="1063" y="1122"/>
                </a:lnTo>
                <a:lnTo>
                  <a:pt x="1054" y="1127"/>
                </a:lnTo>
                <a:lnTo>
                  <a:pt x="1049" y="1136"/>
                </a:lnTo>
                <a:lnTo>
                  <a:pt x="1044" y="1146"/>
                </a:lnTo>
                <a:lnTo>
                  <a:pt x="1039" y="1159"/>
                </a:lnTo>
                <a:lnTo>
                  <a:pt x="1031" y="1186"/>
                </a:lnTo>
                <a:lnTo>
                  <a:pt x="1020" y="1213"/>
                </a:lnTo>
                <a:lnTo>
                  <a:pt x="1012" y="1240"/>
                </a:lnTo>
                <a:lnTo>
                  <a:pt x="1002" y="1267"/>
                </a:lnTo>
                <a:lnTo>
                  <a:pt x="997" y="1280"/>
                </a:lnTo>
                <a:lnTo>
                  <a:pt x="990" y="1292"/>
                </a:lnTo>
                <a:lnTo>
                  <a:pt x="985" y="1296"/>
                </a:lnTo>
                <a:lnTo>
                  <a:pt x="980" y="1299"/>
                </a:lnTo>
                <a:lnTo>
                  <a:pt x="973" y="1301"/>
                </a:lnTo>
                <a:lnTo>
                  <a:pt x="967" y="1302"/>
                </a:lnTo>
                <a:lnTo>
                  <a:pt x="951" y="1307"/>
                </a:lnTo>
                <a:lnTo>
                  <a:pt x="941" y="1312"/>
                </a:lnTo>
                <a:lnTo>
                  <a:pt x="936" y="1317"/>
                </a:lnTo>
                <a:lnTo>
                  <a:pt x="933" y="1321"/>
                </a:lnTo>
                <a:lnTo>
                  <a:pt x="933" y="1324"/>
                </a:lnTo>
                <a:lnTo>
                  <a:pt x="936" y="1328"/>
                </a:lnTo>
                <a:lnTo>
                  <a:pt x="943" y="1329"/>
                </a:lnTo>
                <a:lnTo>
                  <a:pt x="955" y="1331"/>
                </a:lnTo>
                <a:lnTo>
                  <a:pt x="963" y="1334"/>
                </a:lnTo>
                <a:lnTo>
                  <a:pt x="972" y="1339"/>
                </a:lnTo>
                <a:lnTo>
                  <a:pt x="978" y="1344"/>
                </a:lnTo>
                <a:lnTo>
                  <a:pt x="982" y="1349"/>
                </a:lnTo>
                <a:lnTo>
                  <a:pt x="983" y="1358"/>
                </a:lnTo>
                <a:lnTo>
                  <a:pt x="983" y="1366"/>
                </a:lnTo>
                <a:lnTo>
                  <a:pt x="980" y="1378"/>
                </a:lnTo>
                <a:lnTo>
                  <a:pt x="975" y="1390"/>
                </a:lnTo>
                <a:lnTo>
                  <a:pt x="968" y="1407"/>
                </a:lnTo>
                <a:lnTo>
                  <a:pt x="960" y="1420"/>
                </a:lnTo>
                <a:lnTo>
                  <a:pt x="957" y="1425"/>
                </a:lnTo>
                <a:lnTo>
                  <a:pt x="951" y="1430"/>
                </a:lnTo>
                <a:lnTo>
                  <a:pt x="946" y="1435"/>
                </a:lnTo>
                <a:lnTo>
                  <a:pt x="941" y="1437"/>
                </a:lnTo>
                <a:lnTo>
                  <a:pt x="936" y="1439"/>
                </a:lnTo>
                <a:lnTo>
                  <a:pt x="931" y="1444"/>
                </a:lnTo>
                <a:lnTo>
                  <a:pt x="930" y="1450"/>
                </a:lnTo>
                <a:lnTo>
                  <a:pt x="928" y="1461"/>
                </a:lnTo>
                <a:lnTo>
                  <a:pt x="925" y="1466"/>
                </a:lnTo>
                <a:lnTo>
                  <a:pt x="925" y="1471"/>
                </a:lnTo>
                <a:lnTo>
                  <a:pt x="925" y="1474"/>
                </a:lnTo>
                <a:lnTo>
                  <a:pt x="925" y="1477"/>
                </a:lnTo>
                <a:lnTo>
                  <a:pt x="928" y="1477"/>
                </a:lnTo>
                <a:lnTo>
                  <a:pt x="931" y="1477"/>
                </a:lnTo>
                <a:lnTo>
                  <a:pt x="935" y="1476"/>
                </a:lnTo>
                <a:lnTo>
                  <a:pt x="941" y="1474"/>
                </a:lnTo>
                <a:lnTo>
                  <a:pt x="948" y="1471"/>
                </a:lnTo>
                <a:lnTo>
                  <a:pt x="953" y="1469"/>
                </a:lnTo>
                <a:lnTo>
                  <a:pt x="958" y="1469"/>
                </a:lnTo>
                <a:lnTo>
                  <a:pt x="962" y="1472"/>
                </a:lnTo>
                <a:lnTo>
                  <a:pt x="965" y="1477"/>
                </a:lnTo>
                <a:lnTo>
                  <a:pt x="965" y="1482"/>
                </a:lnTo>
                <a:lnTo>
                  <a:pt x="963" y="1489"/>
                </a:lnTo>
                <a:lnTo>
                  <a:pt x="962" y="1496"/>
                </a:lnTo>
                <a:lnTo>
                  <a:pt x="951" y="1513"/>
                </a:lnTo>
                <a:lnTo>
                  <a:pt x="943" y="1530"/>
                </a:lnTo>
                <a:lnTo>
                  <a:pt x="935" y="1545"/>
                </a:lnTo>
                <a:lnTo>
                  <a:pt x="925" y="1558"/>
                </a:lnTo>
                <a:lnTo>
                  <a:pt x="930" y="1575"/>
                </a:lnTo>
                <a:lnTo>
                  <a:pt x="931" y="1583"/>
                </a:lnTo>
                <a:lnTo>
                  <a:pt x="931" y="1594"/>
                </a:lnTo>
                <a:lnTo>
                  <a:pt x="930" y="1609"/>
                </a:lnTo>
              </a:path>
            </a:pathLst>
          </a:custGeom>
          <a:solidFill>
            <a:srgbClr val="CCECFF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061" name="Freeform 18"/>
          <p:cNvSpPr>
            <a:spLocks noChangeAspect="1"/>
          </p:cNvSpPr>
          <p:nvPr>
            <p:custDataLst>
              <p:tags r:id="rId12"/>
            </p:custDataLst>
          </p:nvPr>
        </p:nvSpPr>
        <p:spPr bwMode="auto">
          <a:xfrm>
            <a:off x="3590925" y="1539875"/>
            <a:ext cx="301625" cy="230188"/>
          </a:xfrm>
          <a:custGeom>
            <a:avLst/>
            <a:gdLst>
              <a:gd name="T0" fmla="*/ 0 w 190"/>
              <a:gd name="T1" fmla="*/ 2147483647 h 144"/>
              <a:gd name="T2" fmla="*/ 2147483647 w 190"/>
              <a:gd name="T3" fmla="*/ 2147483647 h 144"/>
              <a:gd name="T4" fmla="*/ 2147483647 w 190"/>
              <a:gd name="T5" fmla="*/ 2147483647 h 144"/>
              <a:gd name="T6" fmla="*/ 2147483647 w 190"/>
              <a:gd name="T7" fmla="*/ 2147483647 h 144"/>
              <a:gd name="T8" fmla="*/ 2147483647 w 190"/>
              <a:gd name="T9" fmla="*/ 2147483647 h 144"/>
              <a:gd name="T10" fmla="*/ 2147483647 w 190"/>
              <a:gd name="T11" fmla="*/ 2147483647 h 144"/>
              <a:gd name="T12" fmla="*/ 2147483647 w 190"/>
              <a:gd name="T13" fmla="*/ 2147483647 h 144"/>
              <a:gd name="T14" fmla="*/ 2147483647 w 190"/>
              <a:gd name="T15" fmla="*/ 2147483647 h 144"/>
              <a:gd name="T16" fmla="*/ 2147483647 w 190"/>
              <a:gd name="T17" fmla="*/ 2147483647 h 144"/>
              <a:gd name="T18" fmla="*/ 2147483647 w 190"/>
              <a:gd name="T19" fmla="*/ 2147483647 h 144"/>
              <a:gd name="T20" fmla="*/ 2147483647 w 190"/>
              <a:gd name="T21" fmla="*/ 0 h 144"/>
              <a:gd name="T22" fmla="*/ 2147483647 w 190"/>
              <a:gd name="T23" fmla="*/ 2147483647 h 144"/>
              <a:gd name="T24" fmla="*/ 2147483647 w 190"/>
              <a:gd name="T25" fmla="*/ 2147483647 h 144"/>
              <a:gd name="T26" fmla="*/ 2147483647 w 190"/>
              <a:gd name="T27" fmla="*/ 2147483647 h 144"/>
              <a:gd name="T28" fmla="*/ 2147483647 w 190"/>
              <a:gd name="T29" fmla="*/ 2147483647 h 144"/>
              <a:gd name="T30" fmla="*/ 2147483647 w 190"/>
              <a:gd name="T31" fmla="*/ 2147483647 h 144"/>
              <a:gd name="T32" fmla="*/ 2147483647 w 190"/>
              <a:gd name="T33" fmla="*/ 2147483647 h 144"/>
              <a:gd name="T34" fmla="*/ 2147483647 w 190"/>
              <a:gd name="T35" fmla="*/ 2147483647 h 144"/>
              <a:gd name="T36" fmla="*/ 2147483647 w 190"/>
              <a:gd name="T37" fmla="*/ 2147483647 h 144"/>
              <a:gd name="T38" fmla="*/ 2147483647 w 190"/>
              <a:gd name="T39" fmla="*/ 2147483647 h 144"/>
              <a:gd name="T40" fmla="*/ 2147483647 w 190"/>
              <a:gd name="T41" fmla="*/ 2147483647 h 144"/>
              <a:gd name="T42" fmla="*/ 2147483647 w 190"/>
              <a:gd name="T43" fmla="*/ 2147483647 h 144"/>
              <a:gd name="T44" fmla="*/ 2147483647 w 190"/>
              <a:gd name="T45" fmla="*/ 2147483647 h 144"/>
              <a:gd name="T46" fmla="*/ 2147483647 w 190"/>
              <a:gd name="T47" fmla="*/ 2147483647 h 144"/>
              <a:gd name="T48" fmla="*/ 2147483647 w 190"/>
              <a:gd name="T49" fmla="*/ 2147483647 h 144"/>
              <a:gd name="T50" fmla="*/ 2147483647 w 190"/>
              <a:gd name="T51" fmla="*/ 2147483647 h 144"/>
              <a:gd name="T52" fmla="*/ 2147483647 w 190"/>
              <a:gd name="T53" fmla="*/ 2147483647 h 144"/>
              <a:gd name="T54" fmla="*/ 2147483647 w 190"/>
              <a:gd name="T55" fmla="*/ 2147483647 h 144"/>
              <a:gd name="T56" fmla="*/ 2147483647 w 190"/>
              <a:gd name="T57" fmla="*/ 2147483647 h 144"/>
              <a:gd name="T58" fmla="*/ 2147483647 w 190"/>
              <a:gd name="T59" fmla="*/ 2147483647 h 144"/>
              <a:gd name="T60" fmla="*/ 2147483647 w 190"/>
              <a:gd name="T61" fmla="*/ 2147483647 h 144"/>
              <a:gd name="T62" fmla="*/ 2147483647 w 190"/>
              <a:gd name="T63" fmla="*/ 2147483647 h 144"/>
              <a:gd name="T64" fmla="*/ 2147483647 w 190"/>
              <a:gd name="T65" fmla="*/ 2147483647 h 144"/>
              <a:gd name="T66" fmla="*/ 2147483647 w 190"/>
              <a:gd name="T67" fmla="*/ 2147483647 h 144"/>
              <a:gd name="T68" fmla="*/ 2147483647 w 190"/>
              <a:gd name="T69" fmla="*/ 2147483647 h 144"/>
              <a:gd name="T70" fmla="*/ 2147483647 w 190"/>
              <a:gd name="T71" fmla="*/ 2147483647 h 144"/>
              <a:gd name="T72" fmla="*/ 2147483647 w 190"/>
              <a:gd name="T73" fmla="*/ 2147483647 h 144"/>
              <a:gd name="T74" fmla="*/ 2147483647 w 190"/>
              <a:gd name="T75" fmla="*/ 2147483647 h 144"/>
              <a:gd name="T76" fmla="*/ 2147483647 w 190"/>
              <a:gd name="T77" fmla="*/ 2147483647 h 144"/>
              <a:gd name="T78" fmla="*/ 2147483647 w 190"/>
              <a:gd name="T79" fmla="*/ 2147483647 h 144"/>
              <a:gd name="T80" fmla="*/ 2147483647 w 190"/>
              <a:gd name="T81" fmla="*/ 2147483647 h 144"/>
              <a:gd name="T82" fmla="*/ 2147483647 w 190"/>
              <a:gd name="T83" fmla="*/ 2147483647 h 144"/>
              <a:gd name="T84" fmla="*/ 2147483647 w 190"/>
              <a:gd name="T85" fmla="*/ 2147483647 h 144"/>
              <a:gd name="T86" fmla="*/ 2147483647 w 190"/>
              <a:gd name="T87" fmla="*/ 2147483647 h 144"/>
              <a:gd name="T88" fmla="*/ 2147483647 w 190"/>
              <a:gd name="T89" fmla="*/ 2147483647 h 144"/>
              <a:gd name="T90" fmla="*/ 2147483647 w 190"/>
              <a:gd name="T91" fmla="*/ 2147483647 h 144"/>
              <a:gd name="T92" fmla="*/ 0 w 190"/>
              <a:gd name="T93" fmla="*/ 2147483647 h 14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90"/>
              <a:gd name="T142" fmla="*/ 0 h 144"/>
              <a:gd name="T143" fmla="*/ 190 w 190"/>
              <a:gd name="T144" fmla="*/ 144 h 14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90" h="144">
                <a:moveTo>
                  <a:pt x="0" y="67"/>
                </a:moveTo>
                <a:lnTo>
                  <a:pt x="7" y="49"/>
                </a:lnTo>
                <a:lnTo>
                  <a:pt x="15" y="33"/>
                </a:lnTo>
                <a:lnTo>
                  <a:pt x="20" y="27"/>
                </a:lnTo>
                <a:lnTo>
                  <a:pt x="25" y="22"/>
                </a:lnTo>
                <a:lnTo>
                  <a:pt x="30" y="17"/>
                </a:lnTo>
                <a:lnTo>
                  <a:pt x="35" y="13"/>
                </a:lnTo>
                <a:lnTo>
                  <a:pt x="59" y="10"/>
                </a:lnTo>
                <a:lnTo>
                  <a:pt x="77" y="6"/>
                </a:lnTo>
                <a:lnTo>
                  <a:pt x="79" y="3"/>
                </a:lnTo>
                <a:lnTo>
                  <a:pt x="79" y="0"/>
                </a:lnTo>
                <a:lnTo>
                  <a:pt x="89" y="3"/>
                </a:lnTo>
                <a:lnTo>
                  <a:pt x="98" y="6"/>
                </a:lnTo>
                <a:lnTo>
                  <a:pt x="106" y="13"/>
                </a:lnTo>
                <a:lnTo>
                  <a:pt x="116" y="23"/>
                </a:lnTo>
                <a:lnTo>
                  <a:pt x="131" y="28"/>
                </a:lnTo>
                <a:lnTo>
                  <a:pt x="147" y="33"/>
                </a:lnTo>
                <a:lnTo>
                  <a:pt x="162" y="38"/>
                </a:lnTo>
                <a:lnTo>
                  <a:pt x="177" y="43"/>
                </a:lnTo>
                <a:lnTo>
                  <a:pt x="184" y="49"/>
                </a:lnTo>
                <a:lnTo>
                  <a:pt x="189" y="54"/>
                </a:lnTo>
                <a:lnTo>
                  <a:pt x="190" y="60"/>
                </a:lnTo>
                <a:lnTo>
                  <a:pt x="189" y="67"/>
                </a:lnTo>
                <a:lnTo>
                  <a:pt x="187" y="72"/>
                </a:lnTo>
                <a:lnTo>
                  <a:pt x="184" y="77"/>
                </a:lnTo>
                <a:lnTo>
                  <a:pt x="178" y="79"/>
                </a:lnTo>
                <a:lnTo>
                  <a:pt x="173" y="77"/>
                </a:lnTo>
                <a:lnTo>
                  <a:pt x="172" y="99"/>
                </a:lnTo>
                <a:lnTo>
                  <a:pt x="170" y="119"/>
                </a:lnTo>
                <a:lnTo>
                  <a:pt x="172" y="126"/>
                </a:lnTo>
                <a:lnTo>
                  <a:pt x="172" y="133"/>
                </a:lnTo>
                <a:lnTo>
                  <a:pt x="170" y="138"/>
                </a:lnTo>
                <a:lnTo>
                  <a:pt x="167" y="141"/>
                </a:lnTo>
                <a:lnTo>
                  <a:pt x="162" y="143"/>
                </a:lnTo>
                <a:lnTo>
                  <a:pt x="155" y="144"/>
                </a:lnTo>
                <a:lnTo>
                  <a:pt x="147" y="144"/>
                </a:lnTo>
                <a:lnTo>
                  <a:pt x="136" y="144"/>
                </a:lnTo>
                <a:lnTo>
                  <a:pt x="121" y="143"/>
                </a:lnTo>
                <a:lnTo>
                  <a:pt x="106" y="139"/>
                </a:lnTo>
                <a:lnTo>
                  <a:pt x="91" y="134"/>
                </a:lnTo>
                <a:lnTo>
                  <a:pt x="77" y="128"/>
                </a:lnTo>
                <a:lnTo>
                  <a:pt x="66" y="119"/>
                </a:lnTo>
                <a:lnTo>
                  <a:pt x="54" y="111"/>
                </a:lnTo>
                <a:lnTo>
                  <a:pt x="44" y="99"/>
                </a:lnTo>
                <a:lnTo>
                  <a:pt x="35" y="86"/>
                </a:lnTo>
                <a:lnTo>
                  <a:pt x="17" y="75"/>
                </a:lnTo>
                <a:lnTo>
                  <a:pt x="0" y="67"/>
                </a:lnTo>
              </a:path>
            </a:pathLst>
          </a:custGeom>
          <a:solidFill>
            <a:srgbClr val="CCECFF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062" name="Freeform 19"/>
          <p:cNvSpPr>
            <a:spLocks noChangeAspect="1"/>
          </p:cNvSpPr>
          <p:nvPr>
            <p:custDataLst>
              <p:tags r:id="rId13"/>
            </p:custDataLst>
          </p:nvPr>
        </p:nvSpPr>
        <p:spPr bwMode="auto">
          <a:xfrm>
            <a:off x="4572000" y="1484313"/>
            <a:ext cx="1819275" cy="1201737"/>
          </a:xfrm>
          <a:custGeom>
            <a:avLst/>
            <a:gdLst>
              <a:gd name="T0" fmla="*/ 2147483647 w 1146"/>
              <a:gd name="T1" fmla="*/ 2147483647 h 755"/>
              <a:gd name="T2" fmla="*/ 2147483647 w 1146"/>
              <a:gd name="T3" fmla="*/ 2147483647 h 755"/>
              <a:gd name="T4" fmla="*/ 2147483647 w 1146"/>
              <a:gd name="T5" fmla="*/ 2147483647 h 755"/>
              <a:gd name="T6" fmla="*/ 2147483647 w 1146"/>
              <a:gd name="T7" fmla="*/ 2147483647 h 755"/>
              <a:gd name="T8" fmla="*/ 2147483647 w 1146"/>
              <a:gd name="T9" fmla="*/ 2147483647 h 755"/>
              <a:gd name="T10" fmla="*/ 2147483647 w 1146"/>
              <a:gd name="T11" fmla="*/ 2147483647 h 755"/>
              <a:gd name="T12" fmla="*/ 2147483647 w 1146"/>
              <a:gd name="T13" fmla="*/ 2147483647 h 755"/>
              <a:gd name="T14" fmla="*/ 2147483647 w 1146"/>
              <a:gd name="T15" fmla="*/ 2147483647 h 755"/>
              <a:gd name="T16" fmla="*/ 2147483647 w 1146"/>
              <a:gd name="T17" fmla="*/ 2147483647 h 755"/>
              <a:gd name="T18" fmla="*/ 2147483647 w 1146"/>
              <a:gd name="T19" fmla="*/ 2147483647 h 755"/>
              <a:gd name="T20" fmla="*/ 2147483647 w 1146"/>
              <a:gd name="T21" fmla="*/ 2147483647 h 755"/>
              <a:gd name="T22" fmla="*/ 2147483647 w 1146"/>
              <a:gd name="T23" fmla="*/ 2147483647 h 755"/>
              <a:gd name="T24" fmla="*/ 2147483647 w 1146"/>
              <a:gd name="T25" fmla="*/ 2147483647 h 755"/>
              <a:gd name="T26" fmla="*/ 2147483647 w 1146"/>
              <a:gd name="T27" fmla="*/ 2147483647 h 755"/>
              <a:gd name="T28" fmla="*/ 2147483647 w 1146"/>
              <a:gd name="T29" fmla="*/ 2147483647 h 755"/>
              <a:gd name="T30" fmla="*/ 2147483647 w 1146"/>
              <a:gd name="T31" fmla="*/ 2147483647 h 755"/>
              <a:gd name="T32" fmla="*/ 2147483647 w 1146"/>
              <a:gd name="T33" fmla="*/ 2147483647 h 755"/>
              <a:gd name="T34" fmla="*/ 2147483647 w 1146"/>
              <a:gd name="T35" fmla="*/ 2147483647 h 755"/>
              <a:gd name="T36" fmla="*/ 2147483647 w 1146"/>
              <a:gd name="T37" fmla="*/ 2147483647 h 755"/>
              <a:gd name="T38" fmla="*/ 2147483647 w 1146"/>
              <a:gd name="T39" fmla="*/ 2147483647 h 755"/>
              <a:gd name="T40" fmla="*/ 2147483647 w 1146"/>
              <a:gd name="T41" fmla="*/ 2147483647 h 755"/>
              <a:gd name="T42" fmla="*/ 2147483647 w 1146"/>
              <a:gd name="T43" fmla="*/ 2147483647 h 755"/>
              <a:gd name="T44" fmla="*/ 2147483647 w 1146"/>
              <a:gd name="T45" fmla="*/ 2147483647 h 755"/>
              <a:gd name="T46" fmla="*/ 2147483647 w 1146"/>
              <a:gd name="T47" fmla="*/ 2147483647 h 755"/>
              <a:gd name="T48" fmla="*/ 2147483647 w 1146"/>
              <a:gd name="T49" fmla="*/ 2147483647 h 755"/>
              <a:gd name="T50" fmla="*/ 2147483647 w 1146"/>
              <a:gd name="T51" fmla="*/ 2147483647 h 755"/>
              <a:gd name="T52" fmla="*/ 2147483647 w 1146"/>
              <a:gd name="T53" fmla="*/ 2147483647 h 755"/>
              <a:gd name="T54" fmla="*/ 2147483647 w 1146"/>
              <a:gd name="T55" fmla="*/ 2147483647 h 755"/>
              <a:gd name="T56" fmla="*/ 2147483647 w 1146"/>
              <a:gd name="T57" fmla="*/ 2147483647 h 755"/>
              <a:gd name="T58" fmla="*/ 2147483647 w 1146"/>
              <a:gd name="T59" fmla="*/ 2147483647 h 755"/>
              <a:gd name="T60" fmla="*/ 2147483647 w 1146"/>
              <a:gd name="T61" fmla="*/ 2147483647 h 755"/>
              <a:gd name="T62" fmla="*/ 2147483647 w 1146"/>
              <a:gd name="T63" fmla="*/ 2147483647 h 755"/>
              <a:gd name="T64" fmla="*/ 2147483647 w 1146"/>
              <a:gd name="T65" fmla="*/ 2147483647 h 755"/>
              <a:gd name="T66" fmla="*/ 2147483647 w 1146"/>
              <a:gd name="T67" fmla="*/ 2147483647 h 755"/>
              <a:gd name="T68" fmla="*/ 2147483647 w 1146"/>
              <a:gd name="T69" fmla="*/ 2147483647 h 755"/>
              <a:gd name="T70" fmla="*/ 2147483647 w 1146"/>
              <a:gd name="T71" fmla="*/ 2147483647 h 755"/>
              <a:gd name="T72" fmla="*/ 2147483647 w 1146"/>
              <a:gd name="T73" fmla="*/ 2147483647 h 755"/>
              <a:gd name="T74" fmla="*/ 2147483647 w 1146"/>
              <a:gd name="T75" fmla="*/ 2147483647 h 755"/>
              <a:gd name="T76" fmla="*/ 2147483647 w 1146"/>
              <a:gd name="T77" fmla="*/ 2147483647 h 755"/>
              <a:gd name="T78" fmla="*/ 2147483647 w 1146"/>
              <a:gd name="T79" fmla="*/ 2147483647 h 755"/>
              <a:gd name="T80" fmla="*/ 2147483647 w 1146"/>
              <a:gd name="T81" fmla="*/ 2147483647 h 755"/>
              <a:gd name="T82" fmla="*/ 2147483647 w 1146"/>
              <a:gd name="T83" fmla="*/ 2147483647 h 755"/>
              <a:gd name="T84" fmla="*/ 2147483647 w 1146"/>
              <a:gd name="T85" fmla="*/ 2147483647 h 755"/>
              <a:gd name="T86" fmla="*/ 2147483647 w 1146"/>
              <a:gd name="T87" fmla="*/ 2147483647 h 755"/>
              <a:gd name="T88" fmla="*/ 2147483647 w 1146"/>
              <a:gd name="T89" fmla="*/ 2147483647 h 755"/>
              <a:gd name="T90" fmla="*/ 2147483647 w 1146"/>
              <a:gd name="T91" fmla="*/ 2147483647 h 755"/>
              <a:gd name="T92" fmla="*/ 2147483647 w 1146"/>
              <a:gd name="T93" fmla="*/ 2147483647 h 755"/>
              <a:gd name="T94" fmla="*/ 2147483647 w 1146"/>
              <a:gd name="T95" fmla="*/ 2147483647 h 755"/>
              <a:gd name="T96" fmla="*/ 2147483647 w 1146"/>
              <a:gd name="T97" fmla="*/ 2147483647 h 755"/>
              <a:gd name="T98" fmla="*/ 2147483647 w 1146"/>
              <a:gd name="T99" fmla="*/ 2147483647 h 755"/>
              <a:gd name="T100" fmla="*/ 2147483647 w 1146"/>
              <a:gd name="T101" fmla="*/ 2147483647 h 755"/>
              <a:gd name="T102" fmla="*/ 2147483647 w 1146"/>
              <a:gd name="T103" fmla="*/ 2147483647 h 755"/>
              <a:gd name="T104" fmla="*/ 2147483647 w 1146"/>
              <a:gd name="T105" fmla="*/ 2147483647 h 755"/>
              <a:gd name="T106" fmla="*/ 2147483647 w 1146"/>
              <a:gd name="T107" fmla="*/ 2147483647 h 755"/>
              <a:gd name="T108" fmla="*/ 2147483647 w 1146"/>
              <a:gd name="T109" fmla="*/ 2147483647 h 755"/>
              <a:gd name="T110" fmla="*/ 2147483647 w 1146"/>
              <a:gd name="T111" fmla="*/ 2147483647 h 755"/>
              <a:gd name="T112" fmla="*/ 2147483647 w 1146"/>
              <a:gd name="T113" fmla="*/ 2147483647 h 75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146"/>
              <a:gd name="T172" fmla="*/ 0 h 755"/>
              <a:gd name="T173" fmla="*/ 1146 w 1146"/>
              <a:gd name="T174" fmla="*/ 755 h 75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146" h="755">
                <a:moveTo>
                  <a:pt x="25" y="59"/>
                </a:moveTo>
                <a:lnTo>
                  <a:pt x="14" y="47"/>
                </a:lnTo>
                <a:lnTo>
                  <a:pt x="2" y="34"/>
                </a:lnTo>
                <a:lnTo>
                  <a:pt x="0" y="31"/>
                </a:lnTo>
                <a:lnTo>
                  <a:pt x="0" y="27"/>
                </a:lnTo>
                <a:lnTo>
                  <a:pt x="2" y="26"/>
                </a:lnTo>
                <a:lnTo>
                  <a:pt x="3" y="22"/>
                </a:lnTo>
                <a:lnTo>
                  <a:pt x="12" y="19"/>
                </a:lnTo>
                <a:lnTo>
                  <a:pt x="24" y="17"/>
                </a:lnTo>
                <a:lnTo>
                  <a:pt x="39" y="37"/>
                </a:lnTo>
                <a:lnTo>
                  <a:pt x="54" y="56"/>
                </a:lnTo>
                <a:lnTo>
                  <a:pt x="71" y="46"/>
                </a:lnTo>
                <a:lnTo>
                  <a:pt x="86" y="34"/>
                </a:lnTo>
                <a:lnTo>
                  <a:pt x="94" y="32"/>
                </a:lnTo>
                <a:lnTo>
                  <a:pt x="104" y="31"/>
                </a:lnTo>
                <a:lnTo>
                  <a:pt x="113" y="32"/>
                </a:lnTo>
                <a:lnTo>
                  <a:pt x="123" y="34"/>
                </a:lnTo>
                <a:lnTo>
                  <a:pt x="145" y="34"/>
                </a:lnTo>
                <a:lnTo>
                  <a:pt x="168" y="32"/>
                </a:lnTo>
                <a:lnTo>
                  <a:pt x="192" y="32"/>
                </a:lnTo>
                <a:lnTo>
                  <a:pt x="214" y="31"/>
                </a:lnTo>
                <a:lnTo>
                  <a:pt x="222" y="22"/>
                </a:lnTo>
                <a:lnTo>
                  <a:pt x="231" y="17"/>
                </a:lnTo>
                <a:lnTo>
                  <a:pt x="242" y="12"/>
                </a:lnTo>
                <a:lnTo>
                  <a:pt x="258" y="7"/>
                </a:lnTo>
                <a:lnTo>
                  <a:pt x="264" y="4"/>
                </a:lnTo>
                <a:lnTo>
                  <a:pt x="273" y="0"/>
                </a:lnTo>
                <a:lnTo>
                  <a:pt x="281" y="0"/>
                </a:lnTo>
                <a:lnTo>
                  <a:pt x="293" y="2"/>
                </a:lnTo>
                <a:lnTo>
                  <a:pt x="301" y="4"/>
                </a:lnTo>
                <a:lnTo>
                  <a:pt x="310" y="5"/>
                </a:lnTo>
                <a:lnTo>
                  <a:pt x="317" y="10"/>
                </a:lnTo>
                <a:lnTo>
                  <a:pt x="322" y="17"/>
                </a:lnTo>
                <a:lnTo>
                  <a:pt x="332" y="27"/>
                </a:lnTo>
                <a:lnTo>
                  <a:pt x="342" y="36"/>
                </a:lnTo>
                <a:lnTo>
                  <a:pt x="354" y="42"/>
                </a:lnTo>
                <a:lnTo>
                  <a:pt x="365" y="46"/>
                </a:lnTo>
                <a:lnTo>
                  <a:pt x="374" y="53"/>
                </a:lnTo>
                <a:lnTo>
                  <a:pt x="381" y="58"/>
                </a:lnTo>
                <a:lnTo>
                  <a:pt x="389" y="61"/>
                </a:lnTo>
                <a:lnTo>
                  <a:pt x="397" y="64"/>
                </a:lnTo>
                <a:lnTo>
                  <a:pt x="406" y="66"/>
                </a:lnTo>
                <a:lnTo>
                  <a:pt x="414" y="68"/>
                </a:lnTo>
                <a:lnTo>
                  <a:pt x="421" y="68"/>
                </a:lnTo>
                <a:lnTo>
                  <a:pt x="429" y="68"/>
                </a:lnTo>
                <a:lnTo>
                  <a:pt x="453" y="64"/>
                </a:lnTo>
                <a:lnTo>
                  <a:pt x="471" y="66"/>
                </a:lnTo>
                <a:lnTo>
                  <a:pt x="480" y="68"/>
                </a:lnTo>
                <a:lnTo>
                  <a:pt x="488" y="69"/>
                </a:lnTo>
                <a:lnTo>
                  <a:pt x="495" y="74"/>
                </a:lnTo>
                <a:lnTo>
                  <a:pt x="500" y="79"/>
                </a:lnTo>
                <a:lnTo>
                  <a:pt x="517" y="88"/>
                </a:lnTo>
                <a:lnTo>
                  <a:pt x="534" y="95"/>
                </a:lnTo>
                <a:lnTo>
                  <a:pt x="549" y="98"/>
                </a:lnTo>
                <a:lnTo>
                  <a:pt x="564" y="98"/>
                </a:lnTo>
                <a:lnTo>
                  <a:pt x="571" y="93"/>
                </a:lnTo>
                <a:lnTo>
                  <a:pt x="579" y="90"/>
                </a:lnTo>
                <a:lnTo>
                  <a:pt x="588" y="88"/>
                </a:lnTo>
                <a:lnTo>
                  <a:pt x="598" y="90"/>
                </a:lnTo>
                <a:lnTo>
                  <a:pt x="620" y="96"/>
                </a:lnTo>
                <a:lnTo>
                  <a:pt x="641" y="106"/>
                </a:lnTo>
                <a:lnTo>
                  <a:pt x="668" y="120"/>
                </a:lnTo>
                <a:lnTo>
                  <a:pt x="694" y="133"/>
                </a:lnTo>
                <a:lnTo>
                  <a:pt x="715" y="150"/>
                </a:lnTo>
                <a:lnTo>
                  <a:pt x="736" y="167"/>
                </a:lnTo>
                <a:lnTo>
                  <a:pt x="749" y="177"/>
                </a:lnTo>
                <a:lnTo>
                  <a:pt x="764" y="189"/>
                </a:lnTo>
                <a:lnTo>
                  <a:pt x="778" y="199"/>
                </a:lnTo>
                <a:lnTo>
                  <a:pt x="791" y="209"/>
                </a:lnTo>
                <a:lnTo>
                  <a:pt x="806" y="212"/>
                </a:lnTo>
                <a:lnTo>
                  <a:pt x="818" y="218"/>
                </a:lnTo>
                <a:lnTo>
                  <a:pt x="823" y="221"/>
                </a:lnTo>
                <a:lnTo>
                  <a:pt x="827" y="224"/>
                </a:lnTo>
                <a:lnTo>
                  <a:pt x="830" y="229"/>
                </a:lnTo>
                <a:lnTo>
                  <a:pt x="832" y="234"/>
                </a:lnTo>
                <a:lnTo>
                  <a:pt x="842" y="233"/>
                </a:lnTo>
                <a:lnTo>
                  <a:pt x="854" y="228"/>
                </a:lnTo>
                <a:lnTo>
                  <a:pt x="862" y="223"/>
                </a:lnTo>
                <a:lnTo>
                  <a:pt x="870" y="218"/>
                </a:lnTo>
                <a:lnTo>
                  <a:pt x="874" y="216"/>
                </a:lnTo>
                <a:lnTo>
                  <a:pt x="877" y="214"/>
                </a:lnTo>
                <a:lnTo>
                  <a:pt x="880" y="214"/>
                </a:lnTo>
                <a:lnTo>
                  <a:pt x="884" y="216"/>
                </a:lnTo>
                <a:lnTo>
                  <a:pt x="891" y="223"/>
                </a:lnTo>
                <a:lnTo>
                  <a:pt x="899" y="234"/>
                </a:lnTo>
                <a:lnTo>
                  <a:pt x="916" y="243"/>
                </a:lnTo>
                <a:lnTo>
                  <a:pt x="924" y="248"/>
                </a:lnTo>
                <a:lnTo>
                  <a:pt x="934" y="253"/>
                </a:lnTo>
                <a:lnTo>
                  <a:pt x="944" y="256"/>
                </a:lnTo>
                <a:lnTo>
                  <a:pt x="951" y="261"/>
                </a:lnTo>
                <a:lnTo>
                  <a:pt x="958" y="266"/>
                </a:lnTo>
                <a:lnTo>
                  <a:pt x="961" y="273"/>
                </a:lnTo>
                <a:lnTo>
                  <a:pt x="965" y="280"/>
                </a:lnTo>
                <a:lnTo>
                  <a:pt x="966" y="287"/>
                </a:lnTo>
                <a:lnTo>
                  <a:pt x="966" y="293"/>
                </a:lnTo>
                <a:lnTo>
                  <a:pt x="968" y="305"/>
                </a:lnTo>
                <a:lnTo>
                  <a:pt x="971" y="314"/>
                </a:lnTo>
                <a:lnTo>
                  <a:pt x="973" y="315"/>
                </a:lnTo>
                <a:lnTo>
                  <a:pt x="978" y="317"/>
                </a:lnTo>
                <a:lnTo>
                  <a:pt x="983" y="317"/>
                </a:lnTo>
                <a:lnTo>
                  <a:pt x="990" y="315"/>
                </a:lnTo>
                <a:lnTo>
                  <a:pt x="1003" y="315"/>
                </a:lnTo>
                <a:lnTo>
                  <a:pt x="1012" y="317"/>
                </a:lnTo>
                <a:lnTo>
                  <a:pt x="1013" y="319"/>
                </a:lnTo>
                <a:lnTo>
                  <a:pt x="1015" y="320"/>
                </a:lnTo>
                <a:lnTo>
                  <a:pt x="1017" y="324"/>
                </a:lnTo>
                <a:lnTo>
                  <a:pt x="1015" y="327"/>
                </a:lnTo>
                <a:lnTo>
                  <a:pt x="1027" y="324"/>
                </a:lnTo>
                <a:lnTo>
                  <a:pt x="1037" y="322"/>
                </a:lnTo>
                <a:lnTo>
                  <a:pt x="1045" y="324"/>
                </a:lnTo>
                <a:lnTo>
                  <a:pt x="1052" y="327"/>
                </a:lnTo>
                <a:lnTo>
                  <a:pt x="1059" y="332"/>
                </a:lnTo>
                <a:lnTo>
                  <a:pt x="1064" y="339"/>
                </a:lnTo>
                <a:lnTo>
                  <a:pt x="1069" y="347"/>
                </a:lnTo>
                <a:lnTo>
                  <a:pt x="1074" y="357"/>
                </a:lnTo>
                <a:lnTo>
                  <a:pt x="1074" y="371"/>
                </a:lnTo>
                <a:lnTo>
                  <a:pt x="1074" y="383"/>
                </a:lnTo>
                <a:lnTo>
                  <a:pt x="1079" y="374"/>
                </a:lnTo>
                <a:lnTo>
                  <a:pt x="1086" y="366"/>
                </a:lnTo>
                <a:lnTo>
                  <a:pt x="1091" y="359"/>
                </a:lnTo>
                <a:lnTo>
                  <a:pt x="1099" y="354"/>
                </a:lnTo>
                <a:lnTo>
                  <a:pt x="1108" y="351"/>
                </a:lnTo>
                <a:lnTo>
                  <a:pt x="1113" y="352"/>
                </a:lnTo>
                <a:lnTo>
                  <a:pt x="1114" y="357"/>
                </a:lnTo>
                <a:lnTo>
                  <a:pt x="1114" y="366"/>
                </a:lnTo>
                <a:lnTo>
                  <a:pt x="1109" y="371"/>
                </a:lnTo>
                <a:lnTo>
                  <a:pt x="1103" y="378"/>
                </a:lnTo>
                <a:lnTo>
                  <a:pt x="1109" y="376"/>
                </a:lnTo>
                <a:lnTo>
                  <a:pt x="1116" y="376"/>
                </a:lnTo>
                <a:lnTo>
                  <a:pt x="1118" y="376"/>
                </a:lnTo>
                <a:lnTo>
                  <a:pt x="1118" y="378"/>
                </a:lnTo>
                <a:lnTo>
                  <a:pt x="1116" y="383"/>
                </a:lnTo>
                <a:lnTo>
                  <a:pt x="1113" y="386"/>
                </a:lnTo>
                <a:lnTo>
                  <a:pt x="1121" y="404"/>
                </a:lnTo>
                <a:lnTo>
                  <a:pt x="1131" y="425"/>
                </a:lnTo>
                <a:lnTo>
                  <a:pt x="1138" y="433"/>
                </a:lnTo>
                <a:lnTo>
                  <a:pt x="1145" y="442"/>
                </a:lnTo>
                <a:lnTo>
                  <a:pt x="1146" y="452"/>
                </a:lnTo>
                <a:lnTo>
                  <a:pt x="1146" y="462"/>
                </a:lnTo>
                <a:lnTo>
                  <a:pt x="1143" y="462"/>
                </a:lnTo>
                <a:lnTo>
                  <a:pt x="1138" y="463"/>
                </a:lnTo>
                <a:lnTo>
                  <a:pt x="1133" y="470"/>
                </a:lnTo>
                <a:lnTo>
                  <a:pt x="1130" y="477"/>
                </a:lnTo>
                <a:lnTo>
                  <a:pt x="1126" y="484"/>
                </a:lnTo>
                <a:lnTo>
                  <a:pt x="1123" y="490"/>
                </a:lnTo>
                <a:lnTo>
                  <a:pt x="1119" y="494"/>
                </a:lnTo>
                <a:lnTo>
                  <a:pt x="1114" y="494"/>
                </a:lnTo>
                <a:lnTo>
                  <a:pt x="1108" y="494"/>
                </a:lnTo>
                <a:lnTo>
                  <a:pt x="1101" y="492"/>
                </a:lnTo>
                <a:lnTo>
                  <a:pt x="1094" y="489"/>
                </a:lnTo>
                <a:lnTo>
                  <a:pt x="1086" y="484"/>
                </a:lnTo>
                <a:lnTo>
                  <a:pt x="1079" y="479"/>
                </a:lnTo>
                <a:lnTo>
                  <a:pt x="1071" y="472"/>
                </a:lnTo>
                <a:lnTo>
                  <a:pt x="1064" y="463"/>
                </a:lnTo>
                <a:lnTo>
                  <a:pt x="1056" y="455"/>
                </a:lnTo>
                <a:lnTo>
                  <a:pt x="1049" y="445"/>
                </a:lnTo>
                <a:lnTo>
                  <a:pt x="1044" y="435"/>
                </a:lnTo>
                <a:lnTo>
                  <a:pt x="1039" y="425"/>
                </a:lnTo>
                <a:lnTo>
                  <a:pt x="1034" y="413"/>
                </a:lnTo>
                <a:lnTo>
                  <a:pt x="1032" y="401"/>
                </a:lnTo>
                <a:lnTo>
                  <a:pt x="1030" y="388"/>
                </a:lnTo>
                <a:lnTo>
                  <a:pt x="1027" y="381"/>
                </a:lnTo>
                <a:lnTo>
                  <a:pt x="1020" y="378"/>
                </a:lnTo>
                <a:lnTo>
                  <a:pt x="1013" y="378"/>
                </a:lnTo>
                <a:lnTo>
                  <a:pt x="1007" y="379"/>
                </a:lnTo>
                <a:lnTo>
                  <a:pt x="988" y="381"/>
                </a:lnTo>
                <a:lnTo>
                  <a:pt x="971" y="381"/>
                </a:lnTo>
                <a:lnTo>
                  <a:pt x="955" y="381"/>
                </a:lnTo>
                <a:lnTo>
                  <a:pt x="936" y="383"/>
                </a:lnTo>
                <a:lnTo>
                  <a:pt x="926" y="383"/>
                </a:lnTo>
                <a:lnTo>
                  <a:pt x="917" y="384"/>
                </a:lnTo>
                <a:lnTo>
                  <a:pt x="912" y="389"/>
                </a:lnTo>
                <a:lnTo>
                  <a:pt x="907" y="394"/>
                </a:lnTo>
                <a:lnTo>
                  <a:pt x="904" y="403"/>
                </a:lnTo>
                <a:lnTo>
                  <a:pt x="901" y="411"/>
                </a:lnTo>
                <a:lnTo>
                  <a:pt x="899" y="421"/>
                </a:lnTo>
                <a:lnTo>
                  <a:pt x="899" y="431"/>
                </a:lnTo>
                <a:lnTo>
                  <a:pt x="897" y="445"/>
                </a:lnTo>
                <a:lnTo>
                  <a:pt x="897" y="460"/>
                </a:lnTo>
                <a:lnTo>
                  <a:pt x="897" y="475"/>
                </a:lnTo>
                <a:lnTo>
                  <a:pt x="897" y="490"/>
                </a:lnTo>
                <a:lnTo>
                  <a:pt x="907" y="500"/>
                </a:lnTo>
                <a:lnTo>
                  <a:pt x="919" y="511"/>
                </a:lnTo>
                <a:lnTo>
                  <a:pt x="926" y="516"/>
                </a:lnTo>
                <a:lnTo>
                  <a:pt x="933" y="519"/>
                </a:lnTo>
                <a:lnTo>
                  <a:pt x="943" y="521"/>
                </a:lnTo>
                <a:lnTo>
                  <a:pt x="953" y="522"/>
                </a:lnTo>
                <a:lnTo>
                  <a:pt x="963" y="526"/>
                </a:lnTo>
                <a:lnTo>
                  <a:pt x="968" y="531"/>
                </a:lnTo>
                <a:lnTo>
                  <a:pt x="970" y="532"/>
                </a:lnTo>
                <a:lnTo>
                  <a:pt x="970" y="536"/>
                </a:lnTo>
                <a:lnTo>
                  <a:pt x="968" y="539"/>
                </a:lnTo>
                <a:lnTo>
                  <a:pt x="965" y="543"/>
                </a:lnTo>
                <a:lnTo>
                  <a:pt x="960" y="556"/>
                </a:lnTo>
                <a:lnTo>
                  <a:pt x="955" y="568"/>
                </a:lnTo>
                <a:lnTo>
                  <a:pt x="960" y="575"/>
                </a:lnTo>
                <a:lnTo>
                  <a:pt x="961" y="580"/>
                </a:lnTo>
                <a:lnTo>
                  <a:pt x="961" y="583"/>
                </a:lnTo>
                <a:lnTo>
                  <a:pt x="960" y="586"/>
                </a:lnTo>
                <a:lnTo>
                  <a:pt x="956" y="588"/>
                </a:lnTo>
                <a:lnTo>
                  <a:pt x="951" y="590"/>
                </a:lnTo>
                <a:lnTo>
                  <a:pt x="946" y="588"/>
                </a:lnTo>
                <a:lnTo>
                  <a:pt x="941" y="586"/>
                </a:lnTo>
                <a:lnTo>
                  <a:pt x="914" y="591"/>
                </a:lnTo>
                <a:lnTo>
                  <a:pt x="887" y="600"/>
                </a:lnTo>
                <a:lnTo>
                  <a:pt x="862" y="610"/>
                </a:lnTo>
                <a:lnTo>
                  <a:pt x="835" y="620"/>
                </a:lnTo>
                <a:lnTo>
                  <a:pt x="825" y="623"/>
                </a:lnTo>
                <a:lnTo>
                  <a:pt x="816" y="628"/>
                </a:lnTo>
                <a:lnTo>
                  <a:pt x="808" y="633"/>
                </a:lnTo>
                <a:lnTo>
                  <a:pt x="801" y="640"/>
                </a:lnTo>
                <a:lnTo>
                  <a:pt x="788" y="652"/>
                </a:lnTo>
                <a:lnTo>
                  <a:pt x="778" y="664"/>
                </a:lnTo>
                <a:lnTo>
                  <a:pt x="771" y="672"/>
                </a:lnTo>
                <a:lnTo>
                  <a:pt x="764" y="677"/>
                </a:lnTo>
                <a:lnTo>
                  <a:pt x="758" y="681"/>
                </a:lnTo>
                <a:lnTo>
                  <a:pt x="751" y="682"/>
                </a:lnTo>
                <a:lnTo>
                  <a:pt x="744" y="682"/>
                </a:lnTo>
                <a:lnTo>
                  <a:pt x="736" y="682"/>
                </a:lnTo>
                <a:lnTo>
                  <a:pt x="729" y="681"/>
                </a:lnTo>
                <a:lnTo>
                  <a:pt x="721" y="677"/>
                </a:lnTo>
                <a:lnTo>
                  <a:pt x="704" y="681"/>
                </a:lnTo>
                <a:lnTo>
                  <a:pt x="687" y="682"/>
                </a:lnTo>
                <a:lnTo>
                  <a:pt x="672" y="681"/>
                </a:lnTo>
                <a:lnTo>
                  <a:pt x="658" y="677"/>
                </a:lnTo>
                <a:lnTo>
                  <a:pt x="641" y="679"/>
                </a:lnTo>
                <a:lnTo>
                  <a:pt x="628" y="682"/>
                </a:lnTo>
                <a:lnTo>
                  <a:pt x="618" y="686"/>
                </a:lnTo>
                <a:lnTo>
                  <a:pt x="606" y="692"/>
                </a:lnTo>
                <a:lnTo>
                  <a:pt x="594" y="701"/>
                </a:lnTo>
                <a:lnTo>
                  <a:pt x="583" y="706"/>
                </a:lnTo>
                <a:lnTo>
                  <a:pt x="569" y="709"/>
                </a:lnTo>
                <a:lnTo>
                  <a:pt x="556" y="711"/>
                </a:lnTo>
                <a:lnTo>
                  <a:pt x="544" y="721"/>
                </a:lnTo>
                <a:lnTo>
                  <a:pt x="534" y="731"/>
                </a:lnTo>
                <a:lnTo>
                  <a:pt x="525" y="736"/>
                </a:lnTo>
                <a:lnTo>
                  <a:pt x="519" y="738"/>
                </a:lnTo>
                <a:lnTo>
                  <a:pt x="510" y="738"/>
                </a:lnTo>
                <a:lnTo>
                  <a:pt x="502" y="735"/>
                </a:lnTo>
                <a:lnTo>
                  <a:pt x="497" y="731"/>
                </a:lnTo>
                <a:lnTo>
                  <a:pt x="492" y="731"/>
                </a:lnTo>
                <a:lnTo>
                  <a:pt x="485" y="731"/>
                </a:lnTo>
                <a:lnTo>
                  <a:pt x="478" y="731"/>
                </a:lnTo>
                <a:lnTo>
                  <a:pt x="465" y="736"/>
                </a:lnTo>
                <a:lnTo>
                  <a:pt x="450" y="741"/>
                </a:lnTo>
                <a:lnTo>
                  <a:pt x="443" y="746"/>
                </a:lnTo>
                <a:lnTo>
                  <a:pt x="436" y="750"/>
                </a:lnTo>
                <a:lnTo>
                  <a:pt x="429" y="751"/>
                </a:lnTo>
                <a:lnTo>
                  <a:pt x="423" y="753"/>
                </a:lnTo>
                <a:lnTo>
                  <a:pt x="407" y="753"/>
                </a:lnTo>
                <a:lnTo>
                  <a:pt x="394" y="751"/>
                </a:lnTo>
                <a:lnTo>
                  <a:pt x="384" y="748"/>
                </a:lnTo>
                <a:lnTo>
                  <a:pt x="375" y="748"/>
                </a:lnTo>
                <a:lnTo>
                  <a:pt x="365" y="750"/>
                </a:lnTo>
                <a:lnTo>
                  <a:pt x="357" y="751"/>
                </a:lnTo>
                <a:lnTo>
                  <a:pt x="343" y="755"/>
                </a:lnTo>
                <a:lnTo>
                  <a:pt x="330" y="755"/>
                </a:lnTo>
                <a:lnTo>
                  <a:pt x="317" y="751"/>
                </a:lnTo>
                <a:lnTo>
                  <a:pt x="305" y="745"/>
                </a:lnTo>
                <a:lnTo>
                  <a:pt x="286" y="738"/>
                </a:lnTo>
                <a:lnTo>
                  <a:pt x="269" y="731"/>
                </a:lnTo>
                <a:lnTo>
                  <a:pt x="251" y="724"/>
                </a:lnTo>
                <a:lnTo>
                  <a:pt x="234" y="718"/>
                </a:lnTo>
                <a:lnTo>
                  <a:pt x="222" y="714"/>
                </a:lnTo>
                <a:lnTo>
                  <a:pt x="214" y="709"/>
                </a:lnTo>
                <a:lnTo>
                  <a:pt x="209" y="706"/>
                </a:lnTo>
                <a:lnTo>
                  <a:pt x="207" y="701"/>
                </a:lnTo>
                <a:lnTo>
                  <a:pt x="207" y="696"/>
                </a:lnTo>
                <a:lnTo>
                  <a:pt x="210" y="689"/>
                </a:lnTo>
                <a:lnTo>
                  <a:pt x="216" y="684"/>
                </a:lnTo>
                <a:lnTo>
                  <a:pt x="222" y="677"/>
                </a:lnTo>
                <a:lnTo>
                  <a:pt x="237" y="665"/>
                </a:lnTo>
                <a:lnTo>
                  <a:pt x="244" y="655"/>
                </a:lnTo>
                <a:lnTo>
                  <a:pt x="244" y="652"/>
                </a:lnTo>
                <a:lnTo>
                  <a:pt x="241" y="650"/>
                </a:lnTo>
                <a:lnTo>
                  <a:pt x="234" y="649"/>
                </a:lnTo>
                <a:lnTo>
                  <a:pt x="222" y="649"/>
                </a:lnTo>
                <a:lnTo>
                  <a:pt x="214" y="649"/>
                </a:lnTo>
                <a:lnTo>
                  <a:pt x="207" y="647"/>
                </a:lnTo>
                <a:lnTo>
                  <a:pt x="202" y="645"/>
                </a:lnTo>
                <a:lnTo>
                  <a:pt x="197" y="640"/>
                </a:lnTo>
                <a:lnTo>
                  <a:pt x="195" y="635"/>
                </a:lnTo>
                <a:lnTo>
                  <a:pt x="194" y="628"/>
                </a:lnTo>
                <a:lnTo>
                  <a:pt x="195" y="618"/>
                </a:lnTo>
                <a:lnTo>
                  <a:pt x="199" y="608"/>
                </a:lnTo>
                <a:lnTo>
                  <a:pt x="202" y="595"/>
                </a:lnTo>
                <a:lnTo>
                  <a:pt x="204" y="581"/>
                </a:lnTo>
                <a:lnTo>
                  <a:pt x="202" y="571"/>
                </a:lnTo>
                <a:lnTo>
                  <a:pt x="200" y="564"/>
                </a:lnTo>
                <a:lnTo>
                  <a:pt x="195" y="558"/>
                </a:lnTo>
                <a:lnTo>
                  <a:pt x="190" y="553"/>
                </a:lnTo>
                <a:lnTo>
                  <a:pt x="182" y="549"/>
                </a:lnTo>
                <a:lnTo>
                  <a:pt x="172" y="549"/>
                </a:lnTo>
                <a:lnTo>
                  <a:pt x="158" y="546"/>
                </a:lnTo>
                <a:lnTo>
                  <a:pt x="145" y="541"/>
                </a:lnTo>
                <a:lnTo>
                  <a:pt x="131" y="534"/>
                </a:lnTo>
                <a:lnTo>
                  <a:pt x="120" y="526"/>
                </a:lnTo>
                <a:lnTo>
                  <a:pt x="120" y="521"/>
                </a:lnTo>
                <a:lnTo>
                  <a:pt x="120" y="516"/>
                </a:lnTo>
                <a:lnTo>
                  <a:pt x="115" y="506"/>
                </a:lnTo>
                <a:lnTo>
                  <a:pt x="110" y="497"/>
                </a:lnTo>
                <a:lnTo>
                  <a:pt x="116" y="480"/>
                </a:lnTo>
                <a:lnTo>
                  <a:pt x="123" y="463"/>
                </a:lnTo>
                <a:lnTo>
                  <a:pt x="115" y="442"/>
                </a:lnTo>
                <a:lnTo>
                  <a:pt x="108" y="420"/>
                </a:lnTo>
                <a:lnTo>
                  <a:pt x="113" y="396"/>
                </a:lnTo>
                <a:lnTo>
                  <a:pt x="118" y="374"/>
                </a:lnTo>
                <a:lnTo>
                  <a:pt x="108" y="372"/>
                </a:lnTo>
                <a:lnTo>
                  <a:pt x="98" y="371"/>
                </a:lnTo>
                <a:lnTo>
                  <a:pt x="98" y="361"/>
                </a:lnTo>
                <a:lnTo>
                  <a:pt x="101" y="351"/>
                </a:lnTo>
                <a:lnTo>
                  <a:pt x="106" y="337"/>
                </a:lnTo>
                <a:lnTo>
                  <a:pt x="115" y="324"/>
                </a:lnTo>
                <a:lnTo>
                  <a:pt x="110" y="293"/>
                </a:lnTo>
                <a:lnTo>
                  <a:pt x="106" y="265"/>
                </a:lnTo>
                <a:lnTo>
                  <a:pt x="103" y="234"/>
                </a:lnTo>
                <a:lnTo>
                  <a:pt x="99" y="206"/>
                </a:lnTo>
                <a:lnTo>
                  <a:pt x="93" y="207"/>
                </a:lnTo>
                <a:lnTo>
                  <a:pt x="86" y="207"/>
                </a:lnTo>
                <a:lnTo>
                  <a:pt x="81" y="207"/>
                </a:lnTo>
                <a:lnTo>
                  <a:pt x="78" y="204"/>
                </a:lnTo>
                <a:lnTo>
                  <a:pt x="72" y="197"/>
                </a:lnTo>
                <a:lnTo>
                  <a:pt x="67" y="191"/>
                </a:lnTo>
                <a:lnTo>
                  <a:pt x="64" y="182"/>
                </a:lnTo>
                <a:lnTo>
                  <a:pt x="61" y="174"/>
                </a:lnTo>
                <a:lnTo>
                  <a:pt x="57" y="169"/>
                </a:lnTo>
                <a:lnTo>
                  <a:pt x="51" y="162"/>
                </a:lnTo>
                <a:lnTo>
                  <a:pt x="40" y="152"/>
                </a:lnTo>
                <a:lnTo>
                  <a:pt x="27" y="142"/>
                </a:lnTo>
                <a:lnTo>
                  <a:pt x="32" y="137"/>
                </a:lnTo>
                <a:lnTo>
                  <a:pt x="34" y="130"/>
                </a:lnTo>
                <a:lnTo>
                  <a:pt x="35" y="123"/>
                </a:lnTo>
                <a:lnTo>
                  <a:pt x="34" y="115"/>
                </a:lnTo>
                <a:lnTo>
                  <a:pt x="30" y="106"/>
                </a:lnTo>
                <a:lnTo>
                  <a:pt x="25" y="96"/>
                </a:lnTo>
                <a:lnTo>
                  <a:pt x="19" y="85"/>
                </a:lnTo>
                <a:lnTo>
                  <a:pt x="10" y="73"/>
                </a:lnTo>
                <a:lnTo>
                  <a:pt x="12" y="74"/>
                </a:lnTo>
                <a:lnTo>
                  <a:pt x="17" y="73"/>
                </a:lnTo>
                <a:lnTo>
                  <a:pt x="20" y="73"/>
                </a:lnTo>
                <a:lnTo>
                  <a:pt x="22" y="69"/>
                </a:lnTo>
                <a:lnTo>
                  <a:pt x="24" y="66"/>
                </a:lnTo>
                <a:lnTo>
                  <a:pt x="25" y="59"/>
                </a:lnTo>
              </a:path>
            </a:pathLst>
          </a:custGeom>
          <a:solidFill>
            <a:srgbClr val="CCECFF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063" name="Freeform 20"/>
          <p:cNvSpPr>
            <a:spLocks noChangeAspect="1"/>
          </p:cNvSpPr>
          <p:nvPr>
            <p:custDataLst>
              <p:tags r:id="rId14"/>
            </p:custDataLst>
          </p:nvPr>
        </p:nvSpPr>
        <p:spPr bwMode="auto">
          <a:xfrm>
            <a:off x="5219700" y="2060575"/>
            <a:ext cx="1835150" cy="1751013"/>
          </a:xfrm>
          <a:custGeom>
            <a:avLst/>
            <a:gdLst>
              <a:gd name="T0" fmla="*/ 2147483647 w 1156"/>
              <a:gd name="T1" fmla="*/ 2147483647 h 1098"/>
              <a:gd name="T2" fmla="*/ 2147483647 w 1156"/>
              <a:gd name="T3" fmla="*/ 2147483647 h 1098"/>
              <a:gd name="T4" fmla="*/ 2147483647 w 1156"/>
              <a:gd name="T5" fmla="*/ 2147483647 h 1098"/>
              <a:gd name="T6" fmla="*/ 2147483647 w 1156"/>
              <a:gd name="T7" fmla="*/ 2147483647 h 1098"/>
              <a:gd name="T8" fmla="*/ 2147483647 w 1156"/>
              <a:gd name="T9" fmla="*/ 2147483647 h 1098"/>
              <a:gd name="T10" fmla="*/ 2147483647 w 1156"/>
              <a:gd name="T11" fmla="*/ 2147483647 h 1098"/>
              <a:gd name="T12" fmla="*/ 2147483647 w 1156"/>
              <a:gd name="T13" fmla="*/ 2147483647 h 1098"/>
              <a:gd name="T14" fmla="*/ 2147483647 w 1156"/>
              <a:gd name="T15" fmla="*/ 2147483647 h 1098"/>
              <a:gd name="T16" fmla="*/ 2147483647 w 1156"/>
              <a:gd name="T17" fmla="*/ 2147483647 h 1098"/>
              <a:gd name="T18" fmla="*/ 2147483647 w 1156"/>
              <a:gd name="T19" fmla="*/ 2147483647 h 1098"/>
              <a:gd name="T20" fmla="*/ 2147483647 w 1156"/>
              <a:gd name="T21" fmla="*/ 2147483647 h 1098"/>
              <a:gd name="T22" fmla="*/ 2147483647 w 1156"/>
              <a:gd name="T23" fmla="*/ 2147483647 h 1098"/>
              <a:gd name="T24" fmla="*/ 2147483647 w 1156"/>
              <a:gd name="T25" fmla="*/ 2147483647 h 1098"/>
              <a:gd name="T26" fmla="*/ 2147483647 w 1156"/>
              <a:gd name="T27" fmla="*/ 2147483647 h 1098"/>
              <a:gd name="T28" fmla="*/ 2147483647 w 1156"/>
              <a:gd name="T29" fmla="*/ 2147483647 h 1098"/>
              <a:gd name="T30" fmla="*/ 2147483647 w 1156"/>
              <a:gd name="T31" fmla="*/ 2147483647 h 1098"/>
              <a:gd name="T32" fmla="*/ 2147483647 w 1156"/>
              <a:gd name="T33" fmla="*/ 2147483647 h 1098"/>
              <a:gd name="T34" fmla="*/ 2147483647 w 1156"/>
              <a:gd name="T35" fmla="*/ 2147483647 h 1098"/>
              <a:gd name="T36" fmla="*/ 2147483647 w 1156"/>
              <a:gd name="T37" fmla="*/ 2147483647 h 1098"/>
              <a:gd name="T38" fmla="*/ 2147483647 w 1156"/>
              <a:gd name="T39" fmla="*/ 2147483647 h 1098"/>
              <a:gd name="T40" fmla="*/ 2147483647 w 1156"/>
              <a:gd name="T41" fmla="*/ 2147483647 h 1098"/>
              <a:gd name="T42" fmla="*/ 2147483647 w 1156"/>
              <a:gd name="T43" fmla="*/ 2147483647 h 1098"/>
              <a:gd name="T44" fmla="*/ 2147483647 w 1156"/>
              <a:gd name="T45" fmla="*/ 2147483647 h 1098"/>
              <a:gd name="T46" fmla="*/ 2147483647 w 1156"/>
              <a:gd name="T47" fmla="*/ 2147483647 h 1098"/>
              <a:gd name="T48" fmla="*/ 2147483647 w 1156"/>
              <a:gd name="T49" fmla="*/ 2147483647 h 1098"/>
              <a:gd name="T50" fmla="*/ 2147483647 w 1156"/>
              <a:gd name="T51" fmla="*/ 2147483647 h 1098"/>
              <a:gd name="T52" fmla="*/ 2147483647 w 1156"/>
              <a:gd name="T53" fmla="*/ 2147483647 h 1098"/>
              <a:gd name="T54" fmla="*/ 2147483647 w 1156"/>
              <a:gd name="T55" fmla="*/ 2147483647 h 1098"/>
              <a:gd name="T56" fmla="*/ 2147483647 w 1156"/>
              <a:gd name="T57" fmla="*/ 2147483647 h 1098"/>
              <a:gd name="T58" fmla="*/ 2147483647 w 1156"/>
              <a:gd name="T59" fmla="*/ 2147483647 h 1098"/>
              <a:gd name="T60" fmla="*/ 2147483647 w 1156"/>
              <a:gd name="T61" fmla="*/ 2147483647 h 1098"/>
              <a:gd name="T62" fmla="*/ 2147483647 w 1156"/>
              <a:gd name="T63" fmla="*/ 2147483647 h 1098"/>
              <a:gd name="T64" fmla="*/ 2147483647 w 1156"/>
              <a:gd name="T65" fmla="*/ 2147483647 h 1098"/>
              <a:gd name="T66" fmla="*/ 2147483647 w 1156"/>
              <a:gd name="T67" fmla="*/ 2147483647 h 1098"/>
              <a:gd name="T68" fmla="*/ 2147483647 w 1156"/>
              <a:gd name="T69" fmla="*/ 2147483647 h 1098"/>
              <a:gd name="T70" fmla="*/ 2147483647 w 1156"/>
              <a:gd name="T71" fmla="*/ 2147483647 h 1098"/>
              <a:gd name="T72" fmla="*/ 2147483647 w 1156"/>
              <a:gd name="T73" fmla="*/ 2147483647 h 1098"/>
              <a:gd name="T74" fmla="*/ 2147483647 w 1156"/>
              <a:gd name="T75" fmla="*/ 2147483647 h 1098"/>
              <a:gd name="T76" fmla="*/ 2147483647 w 1156"/>
              <a:gd name="T77" fmla="*/ 2147483647 h 1098"/>
              <a:gd name="T78" fmla="*/ 2147483647 w 1156"/>
              <a:gd name="T79" fmla="*/ 2147483647 h 1098"/>
              <a:gd name="T80" fmla="*/ 2147483647 w 1156"/>
              <a:gd name="T81" fmla="*/ 2147483647 h 1098"/>
              <a:gd name="T82" fmla="*/ 2147483647 w 1156"/>
              <a:gd name="T83" fmla="*/ 0 h 1098"/>
              <a:gd name="T84" fmla="*/ 2147483647 w 1156"/>
              <a:gd name="T85" fmla="*/ 2147483647 h 1098"/>
              <a:gd name="T86" fmla="*/ 2147483647 w 1156"/>
              <a:gd name="T87" fmla="*/ 2147483647 h 1098"/>
              <a:gd name="T88" fmla="*/ 2147483647 w 1156"/>
              <a:gd name="T89" fmla="*/ 2147483647 h 1098"/>
              <a:gd name="T90" fmla="*/ 2147483647 w 1156"/>
              <a:gd name="T91" fmla="*/ 2147483647 h 1098"/>
              <a:gd name="T92" fmla="*/ 2147483647 w 1156"/>
              <a:gd name="T93" fmla="*/ 2147483647 h 1098"/>
              <a:gd name="T94" fmla="*/ 2147483647 w 1156"/>
              <a:gd name="T95" fmla="*/ 2147483647 h 1098"/>
              <a:gd name="T96" fmla="*/ 2147483647 w 1156"/>
              <a:gd name="T97" fmla="*/ 2147483647 h 1098"/>
              <a:gd name="T98" fmla="*/ 2147483647 w 1156"/>
              <a:gd name="T99" fmla="*/ 2147483647 h 1098"/>
              <a:gd name="T100" fmla="*/ 2147483647 w 1156"/>
              <a:gd name="T101" fmla="*/ 2147483647 h 1098"/>
              <a:gd name="T102" fmla="*/ 2147483647 w 1156"/>
              <a:gd name="T103" fmla="*/ 2147483647 h 1098"/>
              <a:gd name="T104" fmla="*/ 2147483647 w 1156"/>
              <a:gd name="T105" fmla="*/ 2147483647 h 1098"/>
              <a:gd name="T106" fmla="*/ 2147483647 w 1156"/>
              <a:gd name="T107" fmla="*/ 2147483647 h 1098"/>
              <a:gd name="T108" fmla="*/ 2147483647 w 1156"/>
              <a:gd name="T109" fmla="*/ 2147483647 h 1098"/>
              <a:gd name="T110" fmla="*/ 2147483647 w 1156"/>
              <a:gd name="T111" fmla="*/ 2147483647 h 1098"/>
              <a:gd name="T112" fmla="*/ 2147483647 w 1156"/>
              <a:gd name="T113" fmla="*/ 2147483647 h 1098"/>
              <a:gd name="T114" fmla="*/ 2147483647 w 1156"/>
              <a:gd name="T115" fmla="*/ 2147483647 h 1098"/>
              <a:gd name="T116" fmla="*/ 2147483647 w 1156"/>
              <a:gd name="T117" fmla="*/ 2147483647 h 109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56"/>
              <a:gd name="T178" fmla="*/ 0 h 1098"/>
              <a:gd name="T179" fmla="*/ 1156 w 1156"/>
              <a:gd name="T180" fmla="*/ 1098 h 109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56" h="1098">
                <a:moveTo>
                  <a:pt x="1027" y="803"/>
                </a:moveTo>
                <a:lnTo>
                  <a:pt x="1018" y="803"/>
                </a:lnTo>
                <a:lnTo>
                  <a:pt x="1010" y="803"/>
                </a:lnTo>
                <a:lnTo>
                  <a:pt x="1001" y="800"/>
                </a:lnTo>
                <a:lnTo>
                  <a:pt x="993" y="800"/>
                </a:lnTo>
                <a:lnTo>
                  <a:pt x="986" y="801"/>
                </a:lnTo>
                <a:lnTo>
                  <a:pt x="979" y="805"/>
                </a:lnTo>
                <a:lnTo>
                  <a:pt x="974" y="810"/>
                </a:lnTo>
                <a:lnTo>
                  <a:pt x="971" y="815"/>
                </a:lnTo>
                <a:lnTo>
                  <a:pt x="966" y="822"/>
                </a:lnTo>
                <a:lnTo>
                  <a:pt x="963" y="830"/>
                </a:lnTo>
                <a:lnTo>
                  <a:pt x="961" y="837"/>
                </a:lnTo>
                <a:lnTo>
                  <a:pt x="958" y="843"/>
                </a:lnTo>
                <a:lnTo>
                  <a:pt x="954" y="848"/>
                </a:lnTo>
                <a:lnTo>
                  <a:pt x="951" y="854"/>
                </a:lnTo>
                <a:lnTo>
                  <a:pt x="946" y="859"/>
                </a:lnTo>
                <a:lnTo>
                  <a:pt x="941" y="862"/>
                </a:lnTo>
                <a:lnTo>
                  <a:pt x="934" y="864"/>
                </a:lnTo>
                <a:lnTo>
                  <a:pt x="926" y="865"/>
                </a:lnTo>
                <a:lnTo>
                  <a:pt x="900" y="872"/>
                </a:lnTo>
                <a:lnTo>
                  <a:pt x="875" y="877"/>
                </a:lnTo>
                <a:lnTo>
                  <a:pt x="850" y="882"/>
                </a:lnTo>
                <a:lnTo>
                  <a:pt x="826" y="889"/>
                </a:lnTo>
                <a:lnTo>
                  <a:pt x="818" y="889"/>
                </a:lnTo>
                <a:lnTo>
                  <a:pt x="813" y="889"/>
                </a:lnTo>
                <a:lnTo>
                  <a:pt x="808" y="887"/>
                </a:lnTo>
                <a:lnTo>
                  <a:pt x="804" y="886"/>
                </a:lnTo>
                <a:lnTo>
                  <a:pt x="801" y="882"/>
                </a:lnTo>
                <a:lnTo>
                  <a:pt x="799" y="879"/>
                </a:lnTo>
                <a:lnTo>
                  <a:pt x="799" y="874"/>
                </a:lnTo>
                <a:lnTo>
                  <a:pt x="801" y="869"/>
                </a:lnTo>
                <a:lnTo>
                  <a:pt x="801" y="855"/>
                </a:lnTo>
                <a:lnTo>
                  <a:pt x="803" y="843"/>
                </a:lnTo>
                <a:lnTo>
                  <a:pt x="803" y="830"/>
                </a:lnTo>
                <a:lnTo>
                  <a:pt x="803" y="818"/>
                </a:lnTo>
                <a:lnTo>
                  <a:pt x="798" y="810"/>
                </a:lnTo>
                <a:lnTo>
                  <a:pt x="793" y="805"/>
                </a:lnTo>
                <a:lnTo>
                  <a:pt x="788" y="805"/>
                </a:lnTo>
                <a:lnTo>
                  <a:pt x="783" y="806"/>
                </a:lnTo>
                <a:lnTo>
                  <a:pt x="777" y="808"/>
                </a:lnTo>
                <a:lnTo>
                  <a:pt x="774" y="808"/>
                </a:lnTo>
                <a:lnTo>
                  <a:pt x="769" y="803"/>
                </a:lnTo>
                <a:lnTo>
                  <a:pt x="764" y="796"/>
                </a:lnTo>
                <a:lnTo>
                  <a:pt x="754" y="788"/>
                </a:lnTo>
                <a:lnTo>
                  <a:pt x="745" y="779"/>
                </a:lnTo>
                <a:lnTo>
                  <a:pt x="737" y="771"/>
                </a:lnTo>
                <a:lnTo>
                  <a:pt x="730" y="763"/>
                </a:lnTo>
                <a:lnTo>
                  <a:pt x="720" y="744"/>
                </a:lnTo>
                <a:lnTo>
                  <a:pt x="714" y="727"/>
                </a:lnTo>
                <a:lnTo>
                  <a:pt x="720" y="734"/>
                </a:lnTo>
                <a:lnTo>
                  <a:pt x="729" y="741"/>
                </a:lnTo>
                <a:lnTo>
                  <a:pt x="734" y="742"/>
                </a:lnTo>
                <a:lnTo>
                  <a:pt x="739" y="742"/>
                </a:lnTo>
                <a:lnTo>
                  <a:pt x="744" y="739"/>
                </a:lnTo>
                <a:lnTo>
                  <a:pt x="749" y="732"/>
                </a:lnTo>
                <a:lnTo>
                  <a:pt x="745" y="731"/>
                </a:lnTo>
                <a:lnTo>
                  <a:pt x="744" y="729"/>
                </a:lnTo>
                <a:lnTo>
                  <a:pt x="745" y="726"/>
                </a:lnTo>
                <a:lnTo>
                  <a:pt x="749" y="722"/>
                </a:lnTo>
                <a:lnTo>
                  <a:pt x="744" y="719"/>
                </a:lnTo>
                <a:lnTo>
                  <a:pt x="740" y="715"/>
                </a:lnTo>
                <a:lnTo>
                  <a:pt x="739" y="714"/>
                </a:lnTo>
                <a:lnTo>
                  <a:pt x="739" y="712"/>
                </a:lnTo>
                <a:lnTo>
                  <a:pt x="744" y="707"/>
                </a:lnTo>
                <a:lnTo>
                  <a:pt x="747" y="704"/>
                </a:lnTo>
                <a:lnTo>
                  <a:pt x="757" y="694"/>
                </a:lnTo>
                <a:lnTo>
                  <a:pt x="766" y="682"/>
                </a:lnTo>
                <a:lnTo>
                  <a:pt x="762" y="680"/>
                </a:lnTo>
                <a:lnTo>
                  <a:pt x="757" y="680"/>
                </a:lnTo>
                <a:lnTo>
                  <a:pt x="759" y="670"/>
                </a:lnTo>
                <a:lnTo>
                  <a:pt x="759" y="660"/>
                </a:lnTo>
                <a:lnTo>
                  <a:pt x="757" y="657"/>
                </a:lnTo>
                <a:lnTo>
                  <a:pt x="754" y="655"/>
                </a:lnTo>
                <a:lnTo>
                  <a:pt x="752" y="633"/>
                </a:lnTo>
                <a:lnTo>
                  <a:pt x="749" y="611"/>
                </a:lnTo>
                <a:lnTo>
                  <a:pt x="744" y="609"/>
                </a:lnTo>
                <a:lnTo>
                  <a:pt x="739" y="611"/>
                </a:lnTo>
                <a:lnTo>
                  <a:pt x="735" y="614"/>
                </a:lnTo>
                <a:lnTo>
                  <a:pt x="734" y="621"/>
                </a:lnTo>
                <a:lnTo>
                  <a:pt x="730" y="635"/>
                </a:lnTo>
                <a:lnTo>
                  <a:pt x="727" y="648"/>
                </a:lnTo>
                <a:lnTo>
                  <a:pt x="725" y="655"/>
                </a:lnTo>
                <a:lnTo>
                  <a:pt x="727" y="662"/>
                </a:lnTo>
                <a:lnTo>
                  <a:pt x="727" y="670"/>
                </a:lnTo>
                <a:lnTo>
                  <a:pt x="729" y="677"/>
                </a:lnTo>
                <a:lnTo>
                  <a:pt x="720" y="685"/>
                </a:lnTo>
                <a:lnTo>
                  <a:pt x="712" y="692"/>
                </a:lnTo>
                <a:lnTo>
                  <a:pt x="707" y="694"/>
                </a:lnTo>
                <a:lnTo>
                  <a:pt x="702" y="694"/>
                </a:lnTo>
                <a:lnTo>
                  <a:pt x="698" y="694"/>
                </a:lnTo>
                <a:lnTo>
                  <a:pt x="695" y="692"/>
                </a:lnTo>
                <a:lnTo>
                  <a:pt x="692" y="690"/>
                </a:lnTo>
                <a:lnTo>
                  <a:pt x="690" y="687"/>
                </a:lnTo>
                <a:lnTo>
                  <a:pt x="688" y="683"/>
                </a:lnTo>
                <a:lnTo>
                  <a:pt x="688" y="678"/>
                </a:lnTo>
                <a:lnTo>
                  <a:pt x="678" y="672"/>
                </a:lnTo>
                <a:lnTo>
                  <a:pt x="670" y="667"/>
                </a:lnTo>
                <a:lnTo>
                  <a:pt x="663" y="665"/>
                </a:lnTo>
                <a:lnTo>
                  <a:pt x="656" y="663"/>
                </a:lnTo>
                <a:lnTo>
                  <a:pt x="648" y="657"/>
                </a:lnTo>
                <a:lnTo>
                  <a:pt x="639" y="650"/>
                </a:lnTo>
                <a:lnTo>
                  <a:pt x="636" y="651"/>
                </a:lnTo>
                <a:lnTo>
                  <a:pt x="633" y="655"/>
                </a:lnTo>
                <a:lnTo>
                  <a:pt x="646" y="670"/>
                </a:lnTo>
                <a:lnTo>
                  <a:pt x="666" y="687"/>
                </a:lnTo>
                <a:lnTo>
                  <a:pt x="666" y="695"/>
                </a:lnTo>
                <a:lnTo>
                  <a:pt x="665" y="702"/>
                </a:lnTo>
                <a:lnTo>
                  <a:pt x="663" y="709"/>
                </a:lnTo>
                <a:lnTo>
                  <a:pt x="658" y="712"/>
                </a:lnTo>
                <a:lnTo>
                  <a:pt x="653" y="717"/>
                </a:lnTo>
                <a:lnTo>
                  <a:pt x="648" y="719"/>
                </a:lnTo>
                <a:lnTo>
                  <a:pt x="639" y="719"/>
                </a:lnTo>
                <a:lnTo>
                  <a:pt x="631" y="719"/>
                </a:lnTo>
                <a:lnTo>
                  <a:pt x="626" y="712"/>
                </a:lnTo>
                <a:lnTo>
                  <a:pt x="623" y="705"/>
                </a:lnTo>
                <a:lnTo>
                  <a:pt x="618" y="705"/>
                </a:lnTo>
                <a:lnTo>
                  <a:pt x="614" y="704"/>
                </a:lnTo>
                <a:lnTo>
                  <a:pt x="609" y="709"/>
                </a:lnTo>
                <a:lnTo>
                  <a:pt x="607" y="715"/>
                </a:lnTo>
                <a:lnTo>
                  <a:pt x="607" y="721"/>
                </a:lnTo>
                <a:lnTo>
                  <a:pt x="609" y="727"/>
                </a:lnTo>
                <a:lnTo>
                  <a:pt x="607" y="742"/>
                </a:lnTo>
                <a:lnTo>
                  <a:pt x="607" y="756"/>
                </a:lnTo>
                <a:lnTo>
                  <a:pt x="607" y="768"/>
                </a:lnTo>
                <a:lnTo>
                  <a:pt x="609" y="781"/>
                </a:lnTo>
                <a:lnTo>
                  <a:pt x="611" y="791"/>
                </a:lnTo>
                <a:lnTo>
                  <a:pt x="616" y="801"/>
                </a:lnTo>
                <a:lnTo>
                  <a:pt x="621" y="810"/>
                </a:lnTo>
                <a:lnTo>
                  <a:pt x="626" y="818"/>
                </a:lnTo>
                <a:lnTo>
                  <a:pt x="626" y="827"/>
                </a:lnTo>
                <a:lnTo>
                  <a:pt x="626" y="835"/>
                </a:lnTo>
                <a:lnTo>
                  <a:pt x="631" y="833"/>
                </a:lnTo>
                <a:lnTo>
                  <a:pt x="636" y="832"/>
                </a:lnTo>
                <a:lnTo>
                  <a:pt x="658" y="847"/>
                </a:lnTo>
                <a:lnTo>
                  <a:pt x="678" y="860"/>
                </a:lnTo>
                <a:lnTo>
                  <a:pt x="690" y="862"/>
                </a:lnTo>
                <a:lnTo>
                  <a:pt x="700" y="862"/>
                </a:lnTo>
                <a:lnTo>
                  <a:pt x="700" y="870"/>
                </a:lnTo>
                <a:lnTo>
                  <a:pt x="700" y="879"/>
                </a:lnTo>
                <a:lnTo>
                  <a:pt x="693" y="880"/>
                </a:lnTo>
                <a:lnTo>
                  <a:pt x="685" y="882"/>
                </a:lnTo>
                <a:lnTo>
                  <a:pt x="693" y="889"/>
                </a:lnTo>
                <a:lnTo>
                  <a:pt x="702" y="894"/>
                </a:lnTo>
                <a:lnTo>
                  <a:pt x="690" y="919"/>
                </a:lnTo>
                <a:lnTo>
                  <a:pt x="678" y="943"/>
                </a:lnTo>
                <a:lnTo>
                  <a:pt x="682" y="955"/>
                </a:lnTo>
                <a:lnTo>
                  <a:pt x="683" y="966"/>
                </a:lnTo>
                <a:lnTo>
                  <a:pt x="683" y="976"/>
                </a:lnTo>
                <a:lnTo>
                  <a:pt x="683" y="987"/>
                </a:lnTo>
                <a:lnTo>
                  <a:pt x="682" y="1007"/>
                </a:lnTo>
                <a:lnTo>
                  <a:pt x="676" y="1027"/>
                </a:lnTo>
                <a:lnTo>
                  <a:pt x="673" y="1027"/>
                </a:lnTo>
                <a:lnTo>
                  <a:pt x="670" y="1029"/>
                </a:lnTo>
                <a:lnTo>
                  <a:pt x="666" y="1032"/>
                </a:lnTo>
                <a:lnTo>
                  <a:pt x="661" y="1037"/>
                </a:lnTo>
                <a:lnTo>
                  <a:pt x="655" y="1049"/>
                </a:lnTo>
                <a:lnTo>
                  <a:pt x="646" y="1062"/>
                </a:lnTo>
                <a:lnTo>
                  <a:pt x="636" y="1069"/>
                </a:lnTo>
                <a:lnTo>
                  <a:pt x="629" y="1078"/>
                </a:lnTo>
                <a:lnTo>
                  <a:pt x="623" y="1088"/>
                </a:lnTo>
                <a:lnTo>
                  <a:pt x="616" y="1098"/>
                </a:lnTo>
                <a:lnTo>
                  <a:pt x="604" y="1089"/>
                </a:lnTo>
                <a:lnTo>
                  <a:pt x="592" y="1083"/>
                </a:lnTo>
                <a:lnTo>
                  <a:pt x="586" y="1076"/>
                </a:lnTo>
                <a:lnTo>
                  <a:pt x="577" y="1071"/>
                </a:lnTo>
                <a:lnTo>
                  <a:pt x="570" y="1067"/>
                </a:lnTo>
                <a:lnTo>
                  <a:pt x="564" y="1066"/>
                </a:lnTo>
                <a:lnTo>
                  <a:pt x="559" y="1066"/>
                </a:lnTo>
                <a:lnTo>
                  <a:pt x="554" y="1066"/>
                </a:lnTo>
                <a:lnTo>
                  <a:pt x="547" y="1066"/>
                </a:lnTo>
                <a:lnTo>
                  <a:pt x="542" y="1067"/>
                </a:lnTo>
                <a:lnTo>
                  <a:pt x="537" y="1071"/>
                </a:lnTo>
                <a:lnTo>
                  <a:pt x="532" y="1072"/>
                </a:lnTo>
                <a:lnTo>
                  <a:pt x="527" y="1074"/>
                </a:lnTo>
                <a:lnTo>
                  <a:pt x="522" y="1072"/>
                </a:lnTo>
                <a:lnTo>
                  <a:pt x="518" y="1072"/>
                </a:lnTo>
                <a:lnTo>
                  <a:pt x="513" y="1069"/>
                </a:lnTo>
                <a:lnTo>
                  <a:pt x="510" y="1066"/>
                </a:lnTo>
                <a:lnTo>
                  <a:pt x="505" y="1062"/>
                </a:lnTo>
                <a:lnTo>
                  <a:pt x="493" y="1051"/>
                </a:lnTo>
                <a:lnTo>
                  <a:pt x="483" y="1040"/>
                </a:lnTo>
                <a:lnTo>
                  <a:pt x="478" y="1037"/>
                </a:lnTo>
                <a:lnTo>
                  <a:pt x="474" y="1034"/>
                </a:lnTo>
                <a:lnTo>
                  <a:pt x="471" y="1032"/>
                </a:lnTo>
                <a:lnTo>
                  <a:pt x="468" y="1032"/>
                </a:lnTo>
                <a:lnTo>
                  <a:pt x="464" y="1032"/>
                </a:lnTo>
                <a:lnTo>
                  <a:pt x="461" y="1034"/>
                </a:lnTo>
                <a:lnTo>
                  <a:pt x="458" y="1037"/>
                </a:lnTo>
                <a:lnTo>
                  <a:pt x="454" y="1040"/>
                </a:lnTo>
                <a:lnTo>
                  <a:pt x="448" y="1052"/>
                </a:lnTo>
                <a:lnTo>
                  <a:pt x="441" y="1064"/>
                </a:lnTo>
                <a:lnTo>
                  <a:pt x="434" y="1071"/>
                </a:lnTo>
                <a:lnTo>
                  <a:pt x="427" y="1074"/>
                </a:lnTo>
                <a:lnTo>
                  <a:pt x="424" y="1072"/>
                </a:lnTo>
                <a:lnTo>
                  <a:pt x="421" y="1071"/>
                </a:lnTo>
                <a:lnTo>
                  <a:pt x="417" y="1067"/>
                </a:lnTo>
                <a:lnTo>
                  <a:pt x="416" y="1062"/>
                </a:lnTo>
                <a:lnTo>
                  <a:pt x="409" y="1059"/>
                </a:lnTo>
                <a:lnTo>
                  <a:pt x="400" y="1056"/>
                </a:lnTo>
                <a:lnTo>
                  <a:pt x="394" y="1054"/>
                </a:lnTo>
                <a:lnTo>
                  <a:pt x="385" y="1052"/>
                </a:lnTo>
                <a:lnTo>
                  <a:pt x="367" y="1052"/>
                </a:lnTo>
                <a:lnTo>
                  <a:pt x="348" y="1054"/>
                </a:lnTo>
                <a:lnTo>
                  <a:pt x="347" y="1037"/>
                </a:lnTo>
                <a:lnTo>
                  <a:pt x="347" y="1022"/>
                </a:lnTo>
                <a:lnTo>
                  <a:pt x="348" y="1008"/>
                </a:lnTo>
                <a:lnTo>
                  <a:pt x="350" y="997"/>
                </a:lnTo>
                <a:lnTo>
                  <a:pt x="353" y="985"/>
                </a:lnTo>
                <a:lnTo>
                  <a:pt x="357" y="976"/>
                </a:lnTo>
                <a:lnTo>
                  <a:pt x="362" y="968"/>
                </a:lnTo>
                <a:lnTo>
                  <a:pt x="367" y="961"/>
                </a:lnTo>
                <a:lnTo>
                  <a:pt x="377" y="936"/>
                </a:lnTo>
                <a:lnTo>
                  <a:pt x="385" y="916"/>
                </a:lnTo>
                <a:lnTo>
                  <a:pt x="395" y="899"/>
                </a:lnTo>
                <a:lnTo>
                  <a:pt x="404" y="887"/>
                </a:lnTo>
                <a:lnTo>
                  <a:pt x="417" y="867"/>
                </a:lnTo>
                <a:lnTo>
                  <a:pt x="429" y="847"/>
                </a:lnTo>
                <a:lnTo>
                  <a:pt x="439" y="825"/>
                </a:lnTo>
                <a:lnTo>
                  <a:pt x="448" y="800"/>
                </a:lnTo>
                <a:lnTo>
                  <a:pt x="453" y="795"/>
                </a:lnTo>
                <a:lnTo>
                  <a:pt x="454" y="788"/>
                </a:lnTo>
                <a:lnTo>
                  <a:pt x="453" y="783"/>
                </a:lnTo>
                <a:lnTo>
                  <a:pt x="451" y="776"/>
                </a:lnTo>
                <a:lnTo>
                  <a:pt x="446" y="769"/>
                </a:lnTo>
                <a:lnTo>
                  <a:pt x="439" y="763"/>
                </a:lnTo>
                <a:lnTo>
                  <a:pt x="432" y="756"/>
                </a:lnTo>
                <a:lnTo>
                  <a:pt x="422" y="749"/>
                </a:lnTo>
                <a:lnTo>
                  <a:pt x="412" y="739"/>
                </a:lnTo>
                <a:lnTo>
                  <a:pt x="405" y="729"/>
                </a:lnTo>
                <a:lnTo>
                  <a:pt x="400" y="719"/>
                </a:lnTo>
                <a:lnTo>
                  <a:pt x="399" y="709"/>
                </a:lnTo>
                <a:lnTo>
                  <a:pt x="394" y="700"/>
                </a:lnTo>
                <a:lnTo>
                  <a:pt x="390" y="694"/>
                </a:lnTo>
                <a:lnTo>
                  <a:pt x="387" y="687"/>
                </a:lnTo>
                <a:lnTo>
                  <a:pt x="385" y="678"/>
                </a:lnTo>
                <a:lnTo>
                  <a:pt x="385" y="665"/>
                </a:lnTo>
                <a:lnTo>
                  <a:pt x="387" y="650"/>
                </a:lnTo>
                <a:lnTo>
                  <a:pt x="385" y="631"/>
                </a:lnTo>
                <a:lnTo>
                  <a:pt x="382" y="613"/>
                </a:lnTo>
                <a:lnTo>
                  <a:pt x="379" y="606"/>
                </a:lnTo>
                <a:lnTo>
                  <a:pt x="377" y="601"/>
                </a:lnTo>
                <a:lnTo>
                  <a:pt x="373" y="598"/>
                </a:lnTo>
                <a:lnTo>
                  <a:pt x="370" y="596"/>
                </a:lnTo>
                <a:lnTo>
                  <a:pt x="367" y="596"/>
                </a:lnTo>
                <a:lnTo>
                  <a:pt x="363" y="598"/>
                </a:lnTo>
                <a:lnTo>
                  <a:pt x="358" y="601"/>
                </a:lnTo>
                <a:lnTo>
                  <a:pt x="355" y="606"/>
                </a:lnTo>
                <a:lnTo>
                  <a:pt x="347" y="616"/>
                </a:lnTo>
                <a:lnTo>
                  <a:pt x="340" y="628"/>
                </a:lnTo>
                <a:lnTo>
                  <a:pt x="333" y="633"/>
                </a:lnTo>
                <a:lnTo>
                  <a:pt x="328" y="636"/>
                </a:lnTo>
                <a:lnTo>
                  <a:pt x="323" y="636"/>
                </a:lnTo>
                <a:lnTo>
                  <a:pt x="320" y="635"/>
                </a:lnTo>
                <a:lnTo>
                  <a:pt x="320" y="630"/>
                </a:lnTo>
                <a:lnTo>
                  <a:pt x="320" y="623"/>
                </a:lnTo>
                <a:lnTo>
                  <a:pt x="321" y="614"/>
                </a:lnTo>
                <a:lnTo>
                  <a:pt x="323" y="603"/>
                </a:lnTo>
                <a:lnTo>
                  <a:pt x="326" y="596"/>
                </a:lnTo>
                <a:lnTo>
                  <a:pt x="326" y="589"/>
                </a:lnTo>
                <a:lnTo>
                  <a:pt x="325" y="582"/>
                </a:lnTo>
                <a:lnTo>
                  <a:pt x="323" y="576"/>
                </a:lnTo>
                <a:lnTo>
                  <a:pt x="320" y="571"/>
                </a:lnTo>
                <a:lnTo>
                  <a:pt x="315" y="564"/>
                </a:lnTo>
                <a:lnTo>
                  <a:pt x="308" y="559"/>
                </a:lnTo>
                <a:lnTo>
                  <a:pt x="301" y="554"/>
                </a:lnTo>
                <a:lnTo>
                  <a:pt x="294" y="547"/>
                </a:lnTo>
                <a:lnTo>
                  <a:pt x="288" y="544"/>
                </a:lnTo>
                <a:lnTo>
                  <a:pt x="281" y="542"/>
                </a:lnTo>
                <a:lnTo>
                  <a:pt x="276" y="542"/>
                </a:lnTo>
                <a:lnTo>
                  <a:pt x="271" y="544"/>
                </a:lnTo>
                <a:lnTo>
                  <a:pt x="267" y="547"/>
                </a:lnTo>
                <a:lnTo>
                  <a:pt x="262" y="550"/>
                </a:lnTo>
                <a:lnTo>
                  <a:pt x="259" y="555"/>
                </a:lnTo>
                <a:lnTo>
                  <a:pt x="254" y="562"/>
                </a:lnTo>
                <a:lnTo>
                  <a:pt x="246" y="567"/>
                </a:lnTo>
                <a:lnTo>
                  <a:pt x="237" y="571"/>
                </a:lnTo>
                <a:lnTo>
                  <a:pt x="225" y="574"/>
                </a:lnTo>
                <a:lnTo>
                  <a:pt x="215" y="576"/>
                </a:lnTo>
                <a:lnTo>
                  <a:pt x="207" y="576"/>
                </a:lnTo>
                <a:lnTo>
                  <a:pt x="198" y="576"/>
                </a:lnTo>
                <a:lnTo>
                  <a:pt x="190" y="572"/>
                </a:lnTo>
                <a:lnTo>
                  <a:pt x="182" y="569"/>
                </a:lnTo>
                <a:lnTo>
                  <a:pt x="173" y="564"/>
                </a:lnTo>
                <a:lnTo>
                  <a:pt x="165" y="557"/>
                </a:lnTo>
                <a:lnTo>
                  <a:pt x="156" y="550"/>
                </a:lnTo>
                <a:lnTo>
                  <a:pt x="153" y="545"/>
                </a:lnTo>
                <a:lnTo>
                  <a:pt x="148" y="542"/>
                </a:lnTo>
                <a:lnTo>
                  <a:pt x="143" y="540"/>
                </a:lnTo>
                <a:lnTo>
                  <a:pt x="134" y="540"/>
                </a:lnTo>
                <a:lnTo>
                  <a:pt x="128" y="540"/>
                </a:lnTo>
                <a:lnTo>
                  <a:pt x="123" y="540"/>
                </a:lnTo>
                <a:lnTo>
                  <a:pt x="119" y="540"/>
                </a:lnTo>
                <a:lnTo>
                  <a:pt x="116" y="539"/>
                </a:lnTo>
                <a:lnTo>
                  <a:pt x="113" y="535"/>
                </a:lnTo>
                <a:lnTo>
                  <a:pt x="111" y="532"/>
                </a:lnTo>
                <a:lnTo>
                  <a:pt x="109" y="527"/>
                </a:lnTo>
                <a:lnTo>
                  <a:pt x="109" y="522"/>
                </a:lnTo>
                <a:lnTo>
                  <a:pt x="109" y="517"/>
                </a:lnTo>
                <a:lnTo>
                  <a:pt x="109" y="512"/>
                </a:lnTo>
                <a:lnTo>
                  <a:pt x="108" y="508"/>
                </a:lnTo>
                <a:lnTo>
                  <a:pt x="106" y="505"/>
                </a:lnTo>
                <a:lnTo>
                  <a:pt x="101" y="502"/>
                </a:lnTo>
                <a:lnTo>
                  <a:pt x="92" y="498"/>
                </a:lnTo>
                <a:lnTo>
                  <a:pt x="87" y="498"/>
                </a:lnTo>
                <a:lnTo>
                  <a:pt x="81" y="497"/>
                </a:lnTo>
                <a:lnTo>
                  <a:pt x="76" y="495"/>
                </a:lnTo>
                <a:lnTo>
                  <a:pt x="71" y="490"/>
                </a:lnTo>
                <a:lnTo>
                  <a:pt x="67" y="485"/>
                </a:lnTo>
                <a:lnTo>
                  <a:pt x="64" y="478"/>
                </a:lnTo>
                <a:lnTo>
                  <a:pt x="62" y="470"/>
                </a:lnTo>
                <a:lnTo>
                  <a:pt x="60" y="459"/>
                </a:lnTo>
                <a:lnTo>
                  <a:pt x="60" y="449"/>
                </a:lnTo>
                <a:lnTo>
                  <a:pt x="60" y="439"/>
                </a:lnTo>
                <a:lnTo>
                  <a:pt x="57" y="431"/>
                </a:lnTo>
                <a:lnTo>
                  <a:pt x="54" y="419"/>
                </a:lnTo>
                <a:lnTo>
                  <a:pt x="47" y="414"/>
                </a:lnTo>
                <a:lnTo>
                  <a:pt x="44" y="411"/>
                </a:lnTo>
                <a:lnTo>
                  <a:pt x="44" y="406"/>
                </a:lnTo>
                <a:lnTo>
                  <a:pt x="45" y="402"/>
                </a:lnTo>
                <a:lnTo>
                  <a:pt x="40" y="399"/>
                </a:lnTo>
                <a:lnTo>
                  <a:pt x="37" y="397"/>
                </a:lnTo>
                <a:lnTo>
                  <a:pt x="32" y="397"/>
                </a:lnTo>
                <a:lnTo>
                  <a:pt x="28" y="399"/>
                </a:lnTo>
                <a:lnTo>
                  <a:pt x="23" y="406"/>
                </a:lnTo>
                <a:lnTo>
                  <a:pt x="18" y="412"/>
                </a:lnTo>
                <a:lnTo>
                  <a:pt x="15" y="416"/>
                </a:lnTo>
                <a:lnTo>
                  <a:pt x="10" y="417"/>
                </a:lnTo>
                <a:lnTo>
                  <a:pt x="7" y="419"/>
                </a:lnTo>
                <a:lnTo>
                  <a:pt x="3" y="417"/>
                </a:lnTo>
                <a:lnTo>
                  <a:pt x="1" y="414"/>
                </a:lnTo>
                <a:lnTo>
                  <a:pt x="0" y="411"/>
                </a:lnTo>
                <a:lnTo>
                  <a:pt x="0" y="406"/>
                </a:lnTo>
                <a:lnTo>
                  <a:pt x="3" y="399"/>
                </a:lnTo>
                <a:lnTo>
                  <a:pt x="3" y="394"/>
                </a:lnTo>
                <a:lnTo>
                  <a:pt x="3" y="387"/>
                </a:lnTo>
                <a:lnTo>
                  <a:pt x="12" y="387"/>
                </a:lnTo>
                <a:lnTo>
                  <a:pt x="22" y="385"/>
                </a:lnTo>
                <a:lnTo>
                  <a:pt x="30" y="380"/>
                </a:lnTo>
                <a:lnTo>
                  <a:pt x="39" y="375"/>
                </a:lnTo>
                <a:lnTo>
                  <a:pt x="54" y="370"/>
                </a:lnTo>
                <a:lnTo>
                  <a:pt x="67" y="365"/>
                </a:lnTo>
                <a:lnTo>
                  <a:pt x="74" y="365"/>
                </a:lnTo>
                <a:lnTo>
                  <a:pt x="81" y="365"/>
                </a:lnTo>
                <a:lnTo>
                  <a:pt x="86" y="365"/>
                </a:lnTo>
                <a:lnTo>
                  <a:pt x="91" y="369"/>
                </a:lnTo>
                <a:lnTo>
                  <a:pt x="99" y="372"/>
                </a:lnTo>
                <a:lnTo>
                  <a:pt x="108" y="372"/>
                </a:lnTo>
                <a:lnTo>
                  <a:pt x="114" y="370"/>
                </a:lnTo>
                <a:lnTo>
                  <a:pt x="123" y="365"/>
                </a:lnTo>
                <a:lnTo>
                  <a:pt x="133" y="355"/>
                </a:lnTo>
                <a:lnTo>
                  <a:pt x="145" y="345"/>
                </a:lnTo>
                <a:lnTo>
                  <a:pt x="158" y="343"/>
                </a:lnTo>
                <a:lnTo>
                  <a:pt x="172" y="340"/>
                </a:lnTo>
                <a:lnTo>
                  <a:pt x="183" y="335"/>
                </a:lnTo>
                <a:lnTo>
                  <a:pt x="195" y="326"/>
                </a:lnTo>
                <a:lnTo>
                  <a:pt x="207" y="320"/>
                </a:lnTo>
                <a:lnTo>
                  <a:pt x="217" y="316"/>
                </a:lnTo>
                <a:lnTo>
                  <a:pt x="230" y="313"/>
                </a:lnTo>
                <a:lnTo>
                  <a:pt x="247" y="311"/>
                </a:lnTo>
                <a:lnTo>
                  <a:pt x="261" y="315"/>
                </a:lnTo>
                <a:lnTo>
                  <a:pt x="276" y="316"/>
                </a:lnTo>
                <a:lnTo>
                  <a:pt x="293" y="315"/>
                </a:lnTo>
                <a:lnTo>
                  <a:pt x="310" y="311"/>
                </a:lnTo>
                <a:lnTo>
                  <a:pt x="318" y="315"/>
                </a:lnTo>
                <a:lnTo>
                  <a:pt x="325" y="316"/>
                </a:lnTo>
                <a:lnTo>
                  <a:pt x="333" y="316"/>
                </a:lnTo>
                <a:lnTo>
                  <a:pt x="340" y="316"/>
                </a:lnTo>
                <a:lnTo>
                  <a:pt x="347" y="315"/>
                </a:lnTo>
                <a:lnTo>
                  <a:pt x="353" y="311"/>
                </a:lnTo>
                <a:lnTo>
                  <a:pt x="360" y="306"/>
                </a:lnTo>
                <a:lnTo>
                  <a:pt x="367" y="298"/>
                </a:lnTo>
                <a:lnTo>
                  <a:pt x="377" y="286"/>
                </a:lnTo>
                <a:lnTo>
                  <a:pt x="390" y="274"/>
                </a:lnTo>
                <a:lnTo>
                  <a:pt x="397" y="267"/>
                </a:lnTo>
                <a:lnTo>
                  <a:pt x="405" y="262"/>
                </a:lnTo>
                <a:lnTo>
                  <a:pt x="414" y="257"/>
                </a:lnTo>
                <a:lnTo>
                  <a:pt x="424" y="254"/>
                </a:lnTo>
                <a:lnTo>
                  <a:pt x="451" y="244"/>
                </a:lnTo>
                <a:lnTo>
                  <a:pt x="476" y="234"/>
                </a:lnTo>
                <a:lnTo>
                  <a:pt x="503" y="225"/>
                </a:lnTo>
                <a:lnTo>
                  <a:pt x="530" y="220"/>
                </a:lnTo>
                <a:lnTo>
                  <a:pt x="535" y="222"/>
                </a:lnTo>
                <a:lnTo>
                  <a:pt x="540" y="224"/>
                </a:lnTo>
                <a:lnTo>
                  <a:pt x="545" y="222"/>
                </a:lnTo>
                <a:lnTo>
                  <a:pt x="549" y="220"/>
                </a:lnTo>
                <a:lnTo>
                  <a:pt x="550" y="217"/>
                </a:lnTo>
                <a:lnTo>
                  <a:pt x="550" y="214"/>
                </a:lnTo>
                <a:lnTo>
                  <a:pt x="549" y="209"/>
                </a:lnTo>
                <a:lnTo>
                  <a:pt x="544" y="202"/>
                </a:lnTo>
                <a:lnTo>
                  <a:pt x="549" y="190"/>
                </a:lnTo>
                <a:lnTo>
                  <a:pt x="554" y="177"/>
                </a:lnTo>
                <a:lnTo>
                  <a:pt x="557" y="173"/>
                </a:lnTo>
                <a:lnTo>
                  <a:pt x="559" y="170"/>
                </a:lnTo>
                <a:lnTo>
                  <a:pt x="559" y="166"/>
                </a:lnTo>
                <a:lnTo>
                  <a:pt x="557" y="165"/>
                </a:lnTo>
                <a:lnTo>
                  <a:pt x="552" y="160"/>
                </a:lnTo>
                <a:lnTo>
                  <a:pt x="542" y="156"/>
                </a:lnTo>
                <a:lnTo>
                  <a:pt x="532" y="155"/>
                </a:lnTo>
                <a:lnTo>
                  <a:pt x="522" y="153"/>
                </a:lnTo>
                <a:lnTo>
                  <a:pt x="515" y="150"/>
                </a:lnTo>
                <a:lnTo>
                  <a:pt x="508" y="145"/>
                </a:lnTo>
                <a:lnTo>
                  <a:pt x="496" y="134"/>
                </a:lnTo>
                <a:lnTo>
                  <a:pt x="486" y="124"/>
                </a:lnTo>
                <a:lnTo>
                  <a:pt x="486" y="109"/>
                </a:lnTo>
                <a:lnTo>
                  <a:pt x="486" y="94"/>
                </a:lnTo>
                <a:lnTo>
                  <a:pt x="486" y="79"/>
                </a:lnTo>
                <a:lnTo>
                  <a:pt x="488" y="65"/>
                </a:lnTo>
                <a:lnTo>
                  <a:pt x="488" y="55"/>
                </a:lnTo>
                <a:lnTo>
                  <a:pt x="490" y="45"/>
                </a:lnTo>
                <a:lnTo>
                  <a:pt x="493" y="37"/>
                </a:lnTo>
                <a:lnTo>
                  <a:pt x="496" y="28"/>
                </a:lnTo>
                <a:lnTo>
                  <a:pt x="501" y="23"/>
                </a:lnTo>
                <a:lnTo>
                  <a:pt x="506" y="18"/>
                </a:lnTo>
                <a:lnTo>
                  <a:pt x="515" y="17"/>
                </a:lnTo>
                <a:lnTo>
                  <a:pt x="525" y="17"/>
                </a:lnTo>
                <a:lnTo>
                  <a:pt x="544" y="15"/>
                </a:lnTo>
                <a:lnTo>
                  <a:pt x="560" y="15"/>
                </a:lnTo>
                <a:lnTo>
                  <a:pt x="577" y="15"/>
                </a:lnTo>
                <a:lnTo>
                  <a:pt x="596" y="13"/>
                </a:lnTo>
                <a:lnTo>
                  <a:pt x="602" y="12"/>
                </a:lnTo>
                <a:lnTo>
                  <a:pt x="609" y="12"/>
                </a:lnTo>
                <a:lnTo>
                  <a:pt x="616" y="15"/>
                </a:lnTo>
                <a:lnTo>
                  <a:pt x="619" y="22"/>
                </a:lnTo>
                <a:lnTo>
                  <a:pt x="621" y="35"/>
                </a:lnTo>
                <a:lnTo>
                  <a:pt x="623" y="47"/>
                </a:lnTo>
                <a:lnTo>
                  <a:pt x="628" y="59"/>
                </a:lnTo>
                <a:lnTo>
                  <a:pt x="633" y="69"/>
                </a:lnTo>
                <a:lnTo>
                  <a:pt x="638" y="79"/>
                </a:lnTo>
                <a:lnTo>
                  <a:pt x="645" y="89"/>
                </a:lnTo>
                <a:lnTo>
                  <a:pt x="653" y="97"/>
                </a:lnTo>
                <a:lnTo>
                  <a:pt x="660" y="106"/>
                </a:lnTo>
                <a:lnTo>
                  <a:pt x="668" y="113"/>
                </a:lnTo>
                <a:lnTo>
                  <a:pt x="675" y="118"/>
                </a:lnTo>
                <a:lnTo>
                  <a:pt x="683" y="123"/>
                </a:lnTo>
                <a:lnTo>
                  <a:pt x="690" y="126"/>
                </a:lnTo>
                <a:lnTo>
                  <a:pt x="697" y="128"/>
                </a:lnTo>
                <a:lnTo>
                  <a:pt x="703" y="128"/>
                </a:lnTo>
                <a:lnTo>
                  <a:pt x="708" y="128"/>
                </a:lnTo>
                <a:lnTo>
                  <a:pt x="712" y="124"/>
                </a:lnTo>
                <a:lnTo>
                  <a:pt x="715" y="118"/>
                </a:lnTo>
                <a:lnTo>
                  <a:pt x="719" y="111"/>
                </a:lnTo>
                <a:lnTo>
                  <a:pt x="722" y="104"/>
                </a:lnTo>
                <a:lnTo>
                  <a:pt x="727" y="97"/>
                </a:lnTo>
                <a:lnTo>
                  <a:pt x="732" y="96"/>
                </a:lnTo>
                <a:lnTo>
                  <a:pt x="735" y="96"/>
                </a:lnTo>
                <a:lnTo>
                  <a:pt x="735" y="86"/>
                </a:lnTo>
                <a:lnTo>
                  <a:pt x="734" y="76"/>
                </a:lnTo>
                <a:lnTo>
                  <a:pt x="727" y="67"/>
                </a:lnTo>
                <a:lnTo>
                  <a:pt x="720" y="59"/>
                </a:lnTo>
                <a:lnTo>
                  <a:pt x="710" y="38"/>
                </a:lnTo>
                <a:lnTo>
                  <a:pt x="702" y="20"/>
                </a:lnTo>
                <a:lnTo>
                  <a:pt x="705" y="17"/>
                </a:lnTo>
                <a:lnTo>
                  <a:pt x="707" y="12"/>
                </a:lnTo>
                <a:lnTo>
                  <a:pt x="707" y="17"/>
                </a:lnTo>
                <a:lnTo>
                  <a:pt x="708" y="22"/>
                </a:lnTo>
                <a:lnTo>
                  <a:pt x="717" y="20"/>
                </a:lnTo>
                <a:lnTo>
                  <a:pt x="727" y="18"/>
                </a:lnTo>
                <a:lnTo>
                  <a:pt x="727" y="12"/>
                </a:lnTo>
                <a:lnTo>
                  <a:pt x="729" y="6"/>
                </a:lnTo>
                <a:lnTo>
                  <a:pt x="732" y="3"/>
                </a:lnTo>
                <a:lnTo>
                  <a:pt x="735" y="1"/>
                </a:lnTo>
                <a:lnTo>
                  <a:pt x="739" y="0"/>
                </a:lnTo>
                <a:lnTo>
                  <a:pt x="744" y="1"/>
                </a:lnTo>
                <a:lnTo>
                  <a:pt x="751" y="5"/>
                </a:lnTo>
                <a:lnTo>
                  <a:pt x="759" y="10"/>
                </a:lnTo>
                <a:lnTo>
                  <a:pt x="764" y="23"/>
                </a:lnTo>
                <a:lnTo>
                  <a:pt x="769" y="33"/>
                </a:lnTo>
                <a:lnTo>
                  <a:pt x="772" y="37"/>
                </a:lnTo>
                <a:lnTo>
                  <a:pt x="774" y="37"/>
                </a:lnTo>
                <a:lnTo>
                  <a:pt x="777" y="33"/>
                </a:lnTo>
                <a:lnTo>
                  <a:pt x="779" y="27"/>
                </a:lnTo>
                <a:lnTo>
                  <a:pt x="779" y="20"/>
                </a:lnTo>
                <a:lnTo>
                  <a:pt x="781" y="17"/>
                </a:lnTo>
                <a:lnTo>
                  <a:pt x="784" y="17"/>
                </a:lnTo>
                <a:lnTo>
                  <a:pt x="791" y="20"/>
                </a:lnTo>
                <a:lnTo>
                  <a:pt x="806" y="30"/>
                </a:lnTo>
                <a:lnTo>
                  <a:pt x="823" y="44"/>
                </a:lnTo>
                <a:lnTo>
                  <a:pt x="821" y="49"/>
                </a:lnTo>
                <a:lnTo>
                  <a:pt x="820" y="54"/>
                </a:lnTo>
                <a:lnTo>
                  <a:pt x="820" y="55"/>
                </a:lnTo>
                <a:lnTo>
                  <a:pt x="820" y="57"/>
                </a:lnTo>
                <a:lnTo>
                  <a:pt x="821" y="59"/>
                </a:lnTo>
                <a:lnTo>
                  <a:pt x="825" y="60"/>
                </a:lnTo>
                <a:lnTo>
                  <a:pt x="815" y="65"/>
                </a:lnTo>
                <a:lnTo>
                  <a:pt x="804" y="69"/>
                </a:lnTo>
                <a:lnTo>
                  <a:pt x="816" y="69"/>
                </a:lnTo>
                <a:lnTo>
                  <a:pt x="828" y="69"/>
                </a:lnTo>
                <a:lnTo>
                  <a:pt x="831" y="74"/>
                </a:lnTo>
                <a:lnTo>
                  <a:pt x="836" y="76"/>
                </a:lnTo>
                <a:lnTo>
                  <a:pt x="845" y="76"/>
                </a:lnTo>
                <a:lnTo>
                  <a:pt x="855" y="76"/>
                </a:lnTo>
                <a:lnTo>
                  <a:pt x="857" y="79"/>
                </a:lnTo>
                <a:lnTo>
                  <a:pt x="860" y="82"/>
                </a:lnTo>
                <a:lnTo>
                  <a:pt x="863" y="84"/>
                </a:lnTo>
                <a:lnTo>
                  <a:pt x="870" y="86"/>
                </a:lnTo>
                <a:lnTo>
                  <a:pt x="884" y="76"/>
                </a:lnTo>
                <a:lnTo>
                  <a:pt x="899" y="67"/>
                </a:lnTo>
                <a:lnTo>
                  <a:pt x="916" y="74"/>
                </a:lnTo>
                <a:lnTo>
                  <a:pt x="932" y="79"/>
                </a:lnTo>
                <a:lnTo>
                  <a:pt x="926" y="84"/>
                </a:lnTo>
                <a:lnTo>
                  <a:pt x="922" y="89"/>
                </a:lnTo>
                <a:lnTo>
                  <a:pt x="919" y="92"/>
                </a:lnTo>
                <a:lnTo>
                  <a:pt x="917" y="97"/>
                </a:lnTo>
                <a:lnTo>
                  <a:pt x="919" y="104"/>
                </a:lnTo>
                <a:lnTo>
                  <a:pt x="921" y="109"/>
                </a:lnTo>
                <a:lnTo>
                  <a:pt x="926" y="116"/>
                </a:lnTo>
                <a:lnTo>
                  <a:pt x="934" y="123"/>
                </a:lnTo>
                <a:lnTo>
                  <a:pt x="919" y="124"/>
                </a:lnTo>
                <a:lnTo>
                  <a:pt x="904" y="128"/>
                </a:lnTo>
                <a:lnTo>
                  <a:pt x="899" y="133"/>
                </a:lnTo>
                <a:lnTo>
                  <a:pt x="894" y="136"/>
                </a:lnTo>
                <a:lnTo>
                  <a:pt x="892" y="143"/>
                </a:lnTo>
                <a:lnTo>
                  <a:pt x="892" y="150"/>
                </a:lnTo>
                <a:lnTo>
                  <a:pt x="895" y="146"/>
                </a:lnTo>
                <a:lnTo>
                  <a:pt x="900" y="143"/>
                </a:lnTo>
                <a:lnTo>
                  <a:pt x="904" y="143"/>
                </a:lnTo>
                <a:lnTo>
                  <a:pt x="907" y="143"/>
                </a:lnTo>
                <a:lnTo>
                  <a:pt x="910" y="143"/>
                </a:lnTo>
                <a:lnTo>
                  <a:pt x="914" y="146"/>
                </a:lnTo>
                <a:lnTo>
                  <a:pt x="917" y="148"/>
                </a:lnTo>
                <a:lnTo>
                  <a:pt x="921" y="153"/>
                </a:lnTo>
                <a:lnTo>
                  <a:pt x="929" y="153"/>
                </a:lnTo>
                <a:lnTo>
                  <a:pt x="939" y="153"/>
                </a:lnTo>
                <a:lnTo>
                  <a:pt x="947" y="150"/>
                </a:lnTo>
                <a:lnTo>
                  <a:pt x="958" y="145"/>
                </a:lnTo>
                <a:lnTo>
                  <a:pt x="959" y="155"/>
                </a:lnTo>
                <a:lnTo>
                  <a:pt x="963" y="163"/>
                </a:lnTo>
                <a:lnTo>
                  <a:pt x="973" y="161"/>
                </a:lnTo>
                <a:lnTo>
                  <a:pt x="983" y="160"/>
                </a:lnTo>
                <a:lnTo>
                  <a:pt x="985" y="155"/>
                </a:lnTo>
                <a:lnTo>
                  <a:pt x="985" y="150"/>
                </a:lnTo>
                <a:lnTo>
                  <a:pt x="985" y="146"/>
                </a:lnTo>
                <a:lnTo>
                  <a:pt x="983" y="143"/>
                </a:lnTo>
                <a:lnTo>
                  <a:pt x="979" y="140"/>
                </a:lnTo>
                <a:lnTo>
                  <a:pt x="976" y="138"/>
                </a:lnTo>
                <a:lnTo>
                  <a:pt x="971" y="136"/>
                </a:lnTo>
                <a:lnTo>
                  <a:pt x="964" y="136"/>
                </a:lnTo>
                <a:lnTo>
                  <a:pt x="953" y="128"/>
                </a:lnTo>
                <a:lnTo>
                  <a:pt x="941" y="118"/>
                </a:lnTo>
                <a:lnTo>
                  <a:pt x="942" y="109"/>
                </a:lnTo>
                <a:lnTo>
                  <a:pt x="946" y="101"/>
                </a:lnTo>
                <a:lnTo>
                  <a:pt x="951" y="97"/>
                </a:lnTo>
                <a:lnTo>
                  <a:pt x="959" y="94"/>
                </a:lnTo>
                <a:lnTo>
                  <a:pt x="971" y="99"/>
                </a:lnTo>
                <a:lnTo>
                  <a:pt x="985" y="104"/>
                </a:lnTo>
                <a:lnTo>
                  <a:pt x="996" y="108"/>
                </a:lnTo>
                <a:lnTo>
                  <a:pt x="1010" y="113"/>
                </a:lnTo>
                <a:lnTo>
                  <a:pt x="1020" y="113"/>
                </a:lnTo>
                <a:lnTo>
                  <a:pt x="1028" y="113"/>
                </a:lnTo>
                <a:lnTo>
                  <a:pt x="1027" y="118"/>
                </a:lnTo>
                <a:lnTo>
                  <a:pt x="1023" y="124"/>
                </a:lnTo>
                <a:lnTo>
                  <a:pt x="1037" y="140"/>
                </a:lnTo>
                <a:lnTo>
                  <a:pt x="1050" y="156"/>
                </a:lnTo>
                <a:lnTo>
                  <a:pt x="1055" y="161"/>
                </a:lnTo>
                <a:lnTo>
                  <a:pt x="1062" y="165"/>
                </a:lnTo>
                <a:lnTo>
                  <a:pt x="1059" y="170"/>
                </a:lnTo>
                <a:lnTo>
                  <a:pt x="1054" y="175"/>
                </a:lnTo>
                <a:lnTo>
                  <a:pt x="1055" y="190"/>
                </a:lnTo>
                <a:lnTo>
                  <a:pt x="1054" y="204"/>
                </a:lnTo>
                <a:lnTo>
                  <a:pt x="1050" y="217"/>
                </a:lnTo>
                <a:lnTo>
                  <a:pt x="1050" y="227"/>
                </a:lnTo>
                <a:lnTo>
                  <a:pt x="1055" y="219"/>
                </a:lnTo>
                <a:lnTo>
                  <a:pt x="1062" y="212"/>
                </a:lnTo>
                <a:lnTo>
                  <a:pt x="1065" y="209"/>
                </a:lnTo>
                <a:lnTo>
                  <a:pt x="1069" y="207"/>
                </a:lnTo>
                <a:lnTo>
                  <a:pt x="1072" y="205"/>
                </a:lnTo>
                <a:lnTo>
                  <a:pt x="1077" y="205"/>
                </a:lnTo>
                <a:lnTo>
                  <a:pt x="1080" y="188"/>
                </a:lnTo>
                <a:lnTo>
                  <a:pt x="1084" y="172"/>
                </a:lnTo>
                <a:lnTo>
                  <a:pt x="1089" y="173"/>
                </a:lnTo>
                <a:lnTo>
                  <a:pt x="1094" y="175"/>
                </a:lnTo>
                <a:lnTo>
                  <a:pt x="1099" y="178"/>
                </a:lnTo>
                <a:lnTo>
                  <a:pt x="1102" y="182"/>
                </a:lnTo>
                <a:lnTo>
                  <a:pt x="1109" y="192"/>
                </a:lnTo>
                <a:lnTo>
                  <a:pt x="1116" y="205"/>
                </a:lnTo>
                <a:lnTo>
                  <a:pt x="1112" y="224"/>
                </a:lnTo>
                <a:lnTo>
                  <a:pt x="1111" y="241"/>
                </a:lnTo>
                <a:lnTo>
                  <a:pt x="1112" y="256"/>
                </a:lnTo>
                <a:lnTo>
                  <a:pt x="1118" y="271"/>
                </a:lnTo>
                <a:lnTo>
                  <a:pt x="1123" y="286"/>
                </a:lnTo>
                <a:lnTo>
                  <a:pt x="1133" y="299"/>
                </a:lnTo>
                <a:lnTo>
                  <a:pt x="1143" y="311"/>
                </a:lnTo>
                <a:lnTo>
                  <a:pt x="1156" y="323"/>
                </a:lnTo>
                <a:lnTo>
                  <a:pt x="1156" y="325"/>
                </a:lnTo>
                <a:lnTo>
                  <a:pt x="1131" y="325"/>
                </a:lnTo>
                <a:lnTo>
                  <a:pt x="1107" y="325"/>
                </a:lnTo>
                <a:lnTo>
                  <a:pt x="1104" y="335"/>
                </a:lnTo>
                <a:lnTo>
                  <a:pt x="1101" y="343"/>
                </a:lnTo>
                <a:lnTo>
                  <a:pt x="1097" y="347"/>
                </a:lnTo>
                <a:lnTo>
                  <a:pt x="1096" y="348"/>
                </a:lnTo>
                <a:lnTo>
                  <a:pt x="1092" y="350"/>
                </a:lnTo>
                <a:lnTo>
                  <a:pt x="1091" y="350"/>
                </a:lnTo>
                <a:lnTo>
                  <a:pt x="1086" y="347"/>
                </a:lnTo>
                <a:lnTo>
                  <a:pt x="1080" y="342"/>
                </a:lnTo>
                <a:lnTo>
                  <a:pt x="1075" y="338"/>
                </a:lnTo>
                <a:lnTo>
                  <a:pt x="1072" y="337"/>
                </a:lnTo>
                <a:lnTo>
                  <a:pt x="1069" y="338"/>
                </a:lnTo>
                <a:lnTo>
                  <a:pt x="1067" y="340"/>
                </a:lnTo>
                <a:lnTo>
                  <a:pt x="1064" y="347"/>
                </a:lnTo>
                <a:lnTo>
                  <a:pt x="1064" y="360"/>
                </a:lnTo>
                <a:lnTo>
                  <a:pt x="1059" y="370"/>
                </a:lnTo>
                <a:lnTo>
                  <a:pt x="1054" y="380"/>
                </a:lnTo>
                <a:lnTo>
                  <a:pt x="1048" y="389"/>
                </a:lnTo>
                <a:lnTo>
                  <a:pt x="1042" y="395"/>
                </a:lnTo>
                <a:lnTo>
                  <a:pt x="1035" y="401"/>
                </a:lnTo>
                <a:lnTo>
                  <a:pt x="1027" y="406"/>
                </a:lnTo>
                <a:lnTo>
                  <a:pt x="1017" y="409"/>
                </a:lnTo>
                <a:lnTo>
                  <a:pt x="1008" y="411"/>
                </a:lnTo>
                <a:lnTo>
                  <a:pt x="1001" y="409"/>
                </a:lnTo>
                <a:lnTo>
                  <a:pt x="996" y="409"/>
                </a:lnTo>
                <a:lnTo>
                  <a:pt x="993" y="409"/>
                </a:lnTo>
                <a:lnTo>
                  <a:pt x="990" y="412"/>
                </a:lnTo>
                <a:lnTo>
                  <a:pt x="988" y="417"/>
                </a:lnTo>
                <a:lnTo>
                  <a:pt x="988" y="424"/>
                </a:lnTo>
                <a:lnTo>
                  <a:pt x="985" y="439"/>
                </a:lnTo>
                <a:lnTo>
                  <a:pt x="983" y="453"/>
                </a:lnTo>
                <a:lnTo>
                  <a:pt x="974" y="473"/>
                </a:lnTo>
                <a:lnTo>
                  <a:pt x="964" y="495"/>
                </a:lnTo>
                <a:lnTo>
                  <a:pt x="946" y="513"/>
                </a:lnTo>
                <a:lnTo>
                  <a:pt x="926" y="539"/>
                </a:lnTo>
                <a:lnTo>
                  <a:pt x="919" y="545"/>
                </a:lnTo>
                <a:lnTo>
                  <a:pt x="916" y="552"/>
                </a:lnTo>
                <a:lnTo>
                  <a:pt x="914" y="562"/>
                </a:lnTo>
                <a:lnTo>
                  <a:pt x="916" y="572"/>
                </a:lnTo>
                <a:lnTo>
                  <a:pt x="926" y="587"/>
                </a:lnTo>
                <a:lnTo>
                  <a:pt x="936" y="604"/>
                </a:lnTo>
                <a:lnTo>
                  <a:pt x="946" y="603"/>
                </a:lnTo>
                <a:lnTo>
                  <a:pt x="954" y="603"/>
                </a:lnTo>
                <a:lnTo>
                  <a:pt x="963" y="603"/>
                </a:lnTo>
                <a:lnTo>
                  <a:pt x="971" y="606"/>
                </a:lnTo>
                <a:lnTo>
                  <a:pt x="978" y="609"/>
                </a:lnTo>
                <a:lnTo>
                  <a:pt x="985" y="614"/>
                </a:lnTo>
                <a:lnTo>
                  <a:pt x="990" y="619"/>
                </a:lnTo>
                <a:lnTo>
                  <a:pt x="996" y="626"/>
                </a:lnTo>
                <a:lnTo>
                  <a:pt x="1005" y="633"/>
                </a:lnTo>
                <a:lnTo>
                  <a:pt x="1010" y="640"/>
                </a:lnTo>
                <a:lnTo>
                  <a:pt x="1013" y="646"/>
                </a:lnTo>
                <a:lnTo>
                  <a:pt x="1015" y="655"/>
                </a:lnTo>
                <a:lnTo>
                  <a:pt x="1017" y="668"/>
                </a:lnTo>
                <a:lnTo>
                  <a:pt x="1015" y="682"/>
                </a:lnTo>
                <a:lnTo>
                  <a:pt x="1013" y="695"/>
                </a:lnTo>
                <a:lnTo>
                  <a:pt x="1015" y="702"/>
                </a:lnTo>
                <a:lnTo>
                  <a:pt x="1018" y="702"/>
                </a:lnTo>
                <a:lnTo>
                  <a:pt x="1022" y="704"/>
                </a:lnTo>
                <a:lnTo>
                  <a:pt x="1027" y="709"/>
                </a:lnTo>
                <a:lnTo>
                  <a:pt x="1030" y="715"/>
                </a:lnTo>
                <a:lnTo>
                  <a:pt x="1033" y="724"/>
                </a:lnTo>
                <a:lnTo>
                  <a:pt x="1033" y="732"/>
                </a:lnTo>
                <a:lnTo>
                  <a:pt x="1033" y="749"/>
                </a:lnTo>
                <a:lnTo>
                  <a:pt x="1032" y="768"/>
                </a:lnTo>
                <a:lnTo>
                  <a:pt x="1030" y="786"/>
                </a:lnTo>
                <a:lnTo>
                  <a:pt x="1027" y="803"/>
                </a:lnTo>
              </a:path>
            </a:pathLst>
          </a:custGeom>
          <a:solidFill>
            <a:srgbClr val="CCECFF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064" name="Freeform 21"/>
          <p:cNvSpPr>
            <a:spLocks noChangeAspect="1"/>
          </p:cNvSpPr>
          <p:nvPr>
            <p:custDataLst>
              <p:tags r:id="rId15"/>
            </p:custDataLst>
          </p:nvPr>
        </p:nvSpPr>
        <p:spPr bwMode="auto">
          <a:xfrm>
            <a:off x="3171825" y="2276475"/>
            <a:ext cx="3055938" cy="3146425"/>
          </a:xfrm>
          <a:custGeom>
            <a:avLst/>
            <a:gdLst>
              <a:gd name="T0" fmla="*/ 2147483647 w 1927"/>
              <a:gd name="T1" fmla="*/ 2147483647 h 1972"/>
              <a:gd name="T2" fmla="*/ 2147483647 w 1927"/>
              <a:gd name="T3" fmla="*/ 2147483647 h 1972"/>
              <a:gd name="T4" fmla="*/ 2147483647 w 1927"/>
              <a:gd name="T5" fmla="*/ 2147483647 h 1972"/>
              <a:gd name="T6" fmla="*/ 2147483647 w 1927"/>
              <a:gd name="T7" fmla="*/ 2147483647 h 1972"/>
              <a:gd name="T8" fmla="*/ 2147483647 w 1927"/>
              <a:gd name="T9" fmla="*/ 2147483647 h 1972"/>
              <a:gd name="T10" fmla="*/ 2147483647 w 1927"/>
              <a:gd name="T11" fmla="*/ 2147483647 h 1972"/>
              <a:gd name="T12" fmla="*/ 2147483647 w 1927"/>
              <a:gd name="T13" fmla="*/ 2147483647 h 1972"/>
              <a:gd name="T14" fmla="*/ 2147483647 w 1927"/>
              <a:gd name="T15" fmla="*/ 2147483647 h 1972"/>
              <a:gd name="T16" fmla="*/ 2147483647 w 1927"/>
              <a:gd name="T17" fmla="*/ 2147483647 h 1972"/>
              <a:gd name="T18" fmla="*/ 2147483647 w 1927"/>
              <a:gd name="T19" fmla="*/ 2147483647 h 1972"/>
              <a:gd name="T20" fmla="*/ 2147483647 w 1927"/>
              <a:gd name="T21" fmla="*/ 2147483647 h 1972"/>
              <a:gd name="T22" fmla="*/ 2147483647 w 1927"/>
              <a:gd name="T23" fmla="*/ 2147483647 h 1972"/>
              <a:gd name="T24" fmla="*/ 2147483647 w 1927"/>
              <a:gd name="T25" fmla="*/ 2147483647 h 1972"/>
              <a:gd name="T26" fmla="*/ 2147483647 w 1927"/>
              <a:gd name="T27" fmla="*/ 2147483647 h 1972"/>
              <a:gd name="T28" fmla="*/ 2147483647 w 1927"/>
              <a:gd name="T29" fmla="*/ 2147483647 h 1972"/>
              <a:gd name="T30" fmla="*/ 2147483647 w 1927"/>
              <a:gd name="T31" fmla="*/ 2147483647 h 1972"/>
              <a:gd name="T32" fmla="*/ 2147483647 w 1927"/>
              <a:gd name="T33" fmla="*/ 2147483647 h 1972"/>
              <a:gd name="T34" fmla="*/ 2147483647 w 1927"/>
              <a:gd name="T35" fmla="*/ 2147483647 h 1972"/>
              <a:gd name="T36" fmla="*/ 2147483647 w 1927"/>
              <a:gd name="T37" fmla="*/ 2147483647 h 1972"/>
              <a:gd name="T38" fmla="*/ 2147483647 w 1927"/>
              <a:gd name="T39" fmla="*/ 2147483647 h 1972"/>
              <a:gd name="T40" fmla="*/ 2147483647 w 1927"/>
              <a:gd name="T41" fmla="*/ 2147483647 h 1972"/>
              <a:gd name="T42" fmla="*/ 2147483647 w 1927"/>
              <a:gd name="T43" fmla="*/ 2147483647 h 1972"/>
              <a:gd name="T44" fmla="*/ 2147483647 w 1927"/>
              <a:gd name="T45" fmla="*/ 2147483647 h 1972"/>
              <a:gd name="T46" fmla="*/ 2147483647 w 1927"/>
              <a:gd name="T47" fmla="*/ 2147483647 h 1972"/>
              <a:gd name="T48" fmla="*/ 2147483647 w 1927"/>
              <a:gd name="T49" fmla="*/ 2147483647 h 1972"/>
              <a:gd name="T50" fmla="*/ 2147483647 w 1927"/>
              <a:gd name="T51" fmla="*/ 2147483647 h 1972"/>
              <a:gd name="T52" fmla="*/ 2147483647 w 1927"/>
              <a:gd name="T53" fmla="*/ 2147483647 h 1972"/>
              <a:gd name="T54" fmla="*/ 2147483647 w 1927"/>
              <a:gd name="T55" fmla="*/ 2147483647 h 1972"/>
              <a:gd name="T56" fmla="*/ 2147483647 w 1927"/>
              <a:gd name="T57" fmla="*/ 2147483647 h 1972"/>
              <a:gd name="T58" fmla="*/ 2147483647 w 1927"/>
              <a:gd name="T59" fmla="*/ 2147483647 h 1972"/>
              <a:gd name="T60" fmla="*/ 2147483647 w 1927"/>
              <a:gd name="T61" fmla="*/ 2147483647 h 1972"/>
              <a:gd name="T62" fmla="*/ 2147483647 w 1927"/>
              <a:gd name="T63" fmla="*/ 2147483647 h 1972"/>
              <a:gd name="T64" fmla="*/ 2147483647 w 1927"/>
              <a:gd name="T65" fmla="*/ 2147483647 h 1972"/>
              <a:gd name="T66" fmla="*/ 2147483647 w 1927"/>
              <a:gd name="T67" fmla="*/ 2147483647 h 1972"/>
              <a:gd name="T68" fmla="*/ 2147483647 w 1927"/>
              <a:gd name="T69" fmla="*/ 2147483647 h 1972"/>
              <a:gd name="T70" fmla="*/ 2147483647 w 1927"/>
              <a:gd name="T71" fmla="*/ 2147483647 h 1972"/>
              <a:gd name="T72" fmla="*/ 2147483647 w 1927"/>
              <a:gd name="T73" fmla="*/ 2147483647 h 1972"/>
              <a:gd name="T74" fmla="*/ 2147483647 w 1927"/>
              <a:gd name="T75" fmla="*/ 2147483647 h 1972"/>
              <a:gd name="T76" fmla="*/ 2147483647 w 1927"/>
              <a:gd name="T77" fmla="*/ 2147483647 h 1972"/>
              <a:gd name="T78" fmla="*/ 2147483647 w 1927"/>
              <a:gd name="T79" fmla="*/ 2147483647 h 1972"/>
              <a:gd name="T80" fmla="*/ 2147483647 w 1927"/>
              <a:gd name="T81" fmla="*/ 2147483647 h 1972"/>
              <a:gd name="T82" fmla="*/ 2147483647 w 1927"/>
              <a:gd name="T83" fmla="*/ 2147483647 h 1972"/>
              <a:gd name="T84" fmla="*/ 2147483647 w 1927"/>
              <a:gd name="T85" fmla="*/ 2147483647 h 1972"/>
              <a:gd name="T86" fmla="*/ 2147483647 w 1927"/>
              <a:gd name="T87" fmla="*/ 2147483647 h 1972"/>
              <a:gd name="T88" fmla="*/ 2147483647 w 1927"/>
              <a:gd name="T89" fmla="*/ 2147483647 h 1972"/>
              <a:gd name="T90" fmla="*/ 2147483647 w 1927"/>
              <a:gd name="T91" fmla="*/ 2147483647 h 1972"/>
              <a:gd name="T92" fmla="*/ 2147483647 w 1927"/>
              <a:gd name="T93" fmla="*/ 2147483647 h 1972"/>
              <a:gd name="T94" fmla="*/ 2147483647 w 1927"/>
              <a:gd name="T95" fmla="*/ 2147483647 h 1972"/>
              <a:gd name="T96" fmla="*/ 2147483647 w 1927"/>
              <a:gd name="T97" fmla="*/ 2147483647 h 1972"/>
              <a:gd name="T98" fmla="*/ 2147483647 w 1927"/>
              <a:gd name="T99" fmla="*/ 2147483647 h 1972"/>
              <a:gd name="T100" fmla="*/ 2147483647 w 1927"/>
              <a:gd name="T101" fmla="*/ 2147483647 h 1972"/>
              <a:gd name="T102" fmla="*/ 2147483647 w 1927"/>
              <a:gd name="T103" fmla="*/ 2147483647 h 1972"/>
              <a:gd name="T104" fmla="*/ 2147483647 w 1927"/>
              <a:gd name="T105" fmla="*/ 2147483647 h 1972"/>
              <a:gd name="T106" fmla="*/ 2147483647 w 1927"/>
              <a:gd name="T107" fmla="*/ 2147483647 h 1972"/>
              <a:gd name="T108" fmla="*/ 2147483647 w 1927"/>
              <a:gd name="T109" fmla="*/ 2147483647 h 1972"/>
              <a:gd name="T110" fmla="*/ 2147483647 w 1927"/>
              <a:gd name="T111" fmla="*/ 2147483647 h 1972"/>
              <a:gd name="T112" fmla="*/ 2147483647 w 1927"/>
              <a:gd name="T113" fmla="*/ 2147483647 h 1972"/>
              <a:gd name="T114" fmla="*/ 2147483647 w 1927"/>
              <a:gd name="T115" fmla="*/ 2147483647 h 1972"/>
              <a:gd name="T116" fmla="*/ 2147483647 w 1927"/>
              <a:gd name="T117" fmla="*/ 2147483647 h 1972"/>
              <a:gd name="T118" fmla="*/ 2147483647 w 1927"/>
              <a:gd name="T119" fmla="*/ 2147483647 h 1972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927"/>
              <a:gd name="T181" fmla="*/ 0 h 1972"/>
              <a:gd name="T182" fmla="*/ 1927 w 1927"/>
              <a:gd name="T183" fmla="*/ 1972 h 1972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927" h="1972">
                <a:moveTo>
                  <a:pt x="1314" y="227"/>
                </a:moveTo>
                <a:lnTo>
                  <a:pt x="1304" y="227"/>
                </a:lnTo>
                <a:lnTo>
                  <a:pt x="1294" y="225"/>
                </a:lnTo>
                <a:lnTo>
                  <a:pt x="1284" y="222"/>
                </a:lnTo>
                <a:lnTo>
                  <a:pt x="1275" y="222"/>
                </a:lnTo>
                <a:lnTo>
                  <a:pt x="1265" y="224"/>
                </a:lnTo>
                <a:lnTo>
                  <a:pt x="1257" y="225"/>
                </a:lnTo>
                <a:lnTo>
                  <a:pt x="1243" y="229"/>
                </a:lnTo>
                <a:lnTo>
                  <a:pt x="1230" y="229"/>
                </a:lnTo>
                <a:lnTo>
                  <a:pt x="1217" y="225"/>
                </a:lnTo>
                <a:lnTo>
                  <a:pt x="1205" y="219"/>
                </a:lnTo>
                <a:lnTo>
                  <a:pt x="1186" y="212"/>
                </a:lnTo>
                <a:lnTo>
                  <a:pt x="1169" y="205"/>
                </a:lnTo>
                <a:lnTo>
                  <a:pt x="1151" y="198"/>
                </a:lnTo>
                <a:lnTo>
                  <a:pt x="1134" y="192"/>
                </a:lnTo>
                <a:lnTo>
                  <a:pt x="1122" y="188"/>
                </a:lnTo>
                <a:lnTo>
                  <a:pt x="1114" y="183"/>
                </a:lnTo>
                <a:lnTo>
                  <a:pt x="1109" y="180"/>
                </a:lnTo>
                <a:lnTo>
                  <a:pt x="1107" y="175"/>
                </a:lnTo>
                <a:lnTo>
                  <a:pt x="1107" y="170"/>
                </a:lnTo>
                <a:lnTo>
                  <a:pt x="1110" y="163"/>
                </a:lnTo>
                <a:lnTo>
                  <a:pt x="1116" y="158"/>
                </a:lnTo>
                <a:lnTo>
                  <a:pt x="1122" y="151"/>
                </a:lnTo>
                <a:lnTo>
                  <a:pt x="1137" y="139"/>
                </a:lnTo>
                <a:lnTo>
                  <a:pt x="1144" y="129"/>
                </a:lnTo>
                <a:lnTo>
                  <a:pt x="1144" y="126"/>
                </a:lnTo>
                <a:lnTo>
                  <a:pt x="1141" y="124"/>
                </a:lnTo>
                <a:lnTo>
                  <a:pt x="1134" y="123"/>
                </a:lnTo>
                <a:lnTo>
                  <a:pt x="1122" y="123"/>
                </a:lnTo>
                <a:lnTo>
                  <a:pt x="1114" y="123"/>
                </a:lnTo>
                <a:lnTo>
                  <a:pt x="1107" y="121"/>
                </a:lnTo>
                <a:lnTo>
                  <a:pt x="1102" y="119"/>
                </a:lnTo>
                <a:lnTo>
                  <a:pt x="1097" y="114"/>
                </a:lnTo>
                <a:lnTo>
                  <a:pt x="1095" y="109"/>
                </a:lnTo>
                <a:lnTo>
                  <a:pt x="1094" y="102"/>
                </a:lnTo>
                <a:lnTo>
                  <a:pt x="1095" y="92"/>
                </a:lnTo>
                <a:lnTo>
                  <a:pt x="1099" y="82"/>
                </a:lnTo>
                <a:lnTo>
                  <a:pt x="1102" y="69"/>
                </a:lnTo>
                <a:lnTo>
                  <a:pt x="1104" y="55"/>
                </a:lnTo>
                <a:lnTo>
                  <a:pt x="1102" y="45"/>
                </a:lnTo>
                <a:lnTo>
                  <a:pt x="1100" y="38"/>
                </a:lnTo>
                <a:lnTo>
                  <a:pt x="1095" y="32"/>
                </a:lnTo>
                <a:lnTo>
                  <a:pt x="1090" y="27"/>
                </a:lnTo>
                <a:lnTo>
                  <a:pt x="1082" y="23"/>
                </a:lnTo>
                <a:lnTo>
                  <a:pt x="1072" y="23"/>
                </a:lnTo>
                <a:lnTo>
                  <a:pt x="1058" y="20"/>
                </a:lnTo>
                <a:lnTo>
                  <a:pt x="1045" y="15"/>
                </a:lnTo>
                <a:lnTo>
                  <a:pt x="1031" y="8"/>
                </a:lnTo>
                <a:lnTo>
                  <a:pt x="1020" y="0"/>
                </a:lnTo>
                <a:lnTo>
                  <a:pt x="1020" y="1"/>
                </a:lnTo>
                <a:lnTo>
                  <a:pt x="1015" y="3"/>
                </a:lnTo>
                <a:lnTo>
                  <a:pt x="1011" y="5"/>
                </a:lnTo>
                <a:lnTo>
                  <a:pt x="1010" y="15"/>
                </a:lnTo>
                <a:lnTo>
                  <a:pt x="1008" y="25"/>
                </a:lnTo>
                <a:lnTo>
                  <a:pt x="1004" y="35"/>
                </a:lnTo>
                <a:lnTo>
                  <a:pt x="1003" y="45"/>
                </a:lnTo>
                <a:lnTo>
                  <a:pt x="999" y="54"/>
                </a:lnTo>
                <a:lnTo>
                  <a:pt x="996" y="59"/>
                </a:lnTo>
                <a:lnTo>
                  <a:pt x="991" y="64"/>
                </a:lnTo>
                <a:lnTo>
                  <a:pt x="986" y="67"/>
                </a:lnTo>
                <a:lnTo>
                  <a:pt x="981" y="69"/>
                </a:lnTo>
                <a:lnTo>
                  <a:pt x="976" y="69"/>
                </a:lnTo>
                <a:lnTo>
                  <a:pt x="969" y="67"/>
                </a:lnTo>
                <a:lnTo>
                  <a:pt x="964" y="69"/>
                </a:lnTo>
                <a:lnTo>
                  <a:pt x="961" y="74"/>
                </a:lnTo>
                <a:lnTo>
                  <a:pt x="957" y="79"/>
                </a:lnTo>
                <a:lnTo>
                  <a:pt x="956" y="87"/>
                </a:lnTo>
                <a:lnTo>
                  <a:pt x="956" y="97"/>
                </a:lnTo>
                <a:lnTo>
                  <a:pt x="956" y="111"/>
                </a:lnTo>
                <a:lnTo>
                  <a:pt x="959" y="126"/>
                </a:lnTo>
                <a:lnTo>
                  <a:pt x="962" y="133"/>
                </a:lnTo>
                <a:lnTo>
                  <a:pt x="964" y="139"/>
                </a:lnTo>
                <a:lnTo>
                  <a:pt x="964" y="145"/>
                </a:lnTo>
                <a:lnTo>
                  <a:pt x="962" y="150"/>
                </a:lnTo>
                <a:lnTo>
                  <a:pt x="959" y="155"/>
                </a:lnTo>
                <a:lnTo>
                  <a:pt x="954" y="160"/>
                </a:lnTo>
                <a:lnTo>
                  <a:pt x="947" y="165"/>
                </a:lnTo>
                <a:lnTo>
                  <a:pt x="939" y="168"/>
                </a:lnTo>
                <a:lnTo>
                  <a:pt x="919" y="171"/>
                </a:lnTo>
                <a:lnTo>
                  <a:pt x="900" y="178"/>
                </a:lnTo>
                <a:lnTo>
                  <a:pt x="883" y="185"/>
                </a:lnTo>
                <a:lnTo>
                  <a:pt x="870" y="195"/>
                </a:lnTo>
                <a:lnTo>
                  <a:pt x="861" y="198"/>
                </a:lnTo>
                <a:lnTo>
                  <a:pt x="855" y="198"/>
                </a:lnTo>
                <a:lnTo>
                  <a:pt x="848" y="195"/>
                </a:lnTo>
                <a:lnTo>
                  <a:pt x="843" y="188"/>
                </a:lnTo>
                <a:lnTo>
                  <a:pt x="839" y="183"/>
                </a:lnTo>
                <a:lnTo>
                  <a:pt x="838" y="180"/>
                </a:lnTo>
                <a:lnTo>
                  <a:pt x="834" y="180"/>
                </a:lnTo>
                <a:lnTo>
                  <a:pt x="829" y="182"/>
                </a:lnTo>
                <a:lnTo>
                  <a:pt x="826" y="185"/>
                </a:lnTo>
                <a:lnTo>
                  <a:pt x="821" y="190"/>
                </a:lnTo>
                <a:lnTo>
                  <a:pt x="814" y="198"/>
                </a:lnTo>
                <a:lnTo>
                  <a:pt x="808" y="207"/>
                </a:lnTo>
                <a:lnTo>
                  <a:pt x="809" y="227"/>
                </a:lnTo>
                <a:lnTo>
                  <a:pt x="811" y="249"/>
                </a:lnTo>
                <a:lnTo>
                  <a:pt x="796" y="271"/>
                </a:lnTo>
                <a:lnTo>
                  <a:pt x="781" y="294"/>
                </a:lnTo>
                <a:lnTo>
                  <a:pt x="774" y="305"/>
                </a:lnTo>
                <a:lnTo>
                  <a:pt x="765" y="313"/>
                </a:lnTo>
                <a:lnTo>
                  <a:pt x="757" y="320"/>
                </a:lnTo>
                <a:lnTo>
                  <a:pt x="747" y="325"/>
                </a:lnTo>
                <a:lnTo>
                  <a:pt x="727" y="338"/>
                </a:lnTo>
                <a:lnTo>
                  <a:pt x="713" y="348"/>
                </a:lnTo>
                <a:lnTo>
                  <a:pt x="727" y="362"/>
                </a:lnTo>
                <a:lnTo>
                  <a:pt x="733" y="374"/>
                </a:lnTo>
                <a:lnTo>
                  <a:pt x="735" y="379"/>
                </a:lnTo>
                <a:lnTo>
                  <a:pt x="737" y="384"/>
                </a:lnTo>
                <a:lnTo>
                  <a:pt x="735" y="389"/>
                </a:lnTo>
                <a:lnTo>
                  <a:pt x="733" y="392"/>
                </a:lnTo>
                <a:lnTo>
                  <a:pt x="727" y="399"/>
                </a:lnTo>
                <a:lnTo>
                  <a:pt x="718" y="406"/>
                </a:lnTo>
                <a:lnTo>
                  <a:pt x="705" y="409"/>
                </a:lnTo>
                <a:lnTo>
                  <a:pt x="691" y="414"/>
                </a:lnTo>
                <a:lnTo>
                  <a:pt x="691" y="412"/>
                </a:lnTo>
                <a:lnTo>
                  <a:pt x="690" y="412"/>
                </a:lnTo>
                <a:lnTo>
                  <a:pt x="690" y="414"/>
                </a:lnTo>
                <a:lnTo>
                  <a:pt x="690" y="417"/>
                </a:lnTo>
                <a:lnTo>
                  <a:pt x="675" y="427"/>
                </a:lnTo>
                <a:lnTo>
                  <a:pt x="661" y="434"/>
                </a:lnTo>
                <a:lnTo>
                  <a:pt x="648" y="438"/>
                </a:lnTo>
                <a:lnTo>
                  <a:pt x="634" y="439"/>
                </a:lnTo>
                <a:lnTo>
                  <a:pt x="629" y="444"/>
                </a:lnTo>
                <a:lnTo>
                  <a:pt x="626" y="449"/>
                </a:lnTo>
                <a:lnTo>
                  <a:pt x="624" y="454"/>
                </a:lnTo>
                <a:lnTo>
                  <a:pt x="624" y="458"/>
                </a:lnTo>
                <a:lnTo>
                  <a:pt x="626" y="461"/>
                </a:lnTo>
                <a:lnTo>
                  <a:pt x="629" y="465"/>
                </a:lnTo>
                <a:lnTo>
                  <a:pt x="636" y="468"/>
                </a:lnTo>
                <a:lnTo>
                  <a:pt x="643" y="470"/>
                </a:lnTo>
                <a:lnTo>
                  <a:pt x="653" y="473"/>
                </a:lnTo>
                <a:lnTo>
                  <a:pt x="663" y="476"/>
                </a:lnTo>
                <a:lnTo>
                  <a:pt x="671" y="478"/>
                </a:lnTo>
                <a:lnTo>
                  <a:pt x="676" y="480"/>
                </a:lnTo>
                <a:lnTo>
                  <a:pt x="678" y="483"/>
                </a:lnTo>
                <a:lnTo>
                  <a:pt x="678" y="485"/>
                </a:lnTo>
                <a:lnTo>
                  <a:pt x="676" y="486"/>
                </a:lnTo>
                <a:lnTo>
                  <a:pt x="671" y="490"/>
                </a:lnTo>
                <a:lnTo>
                  <a:pt x="663" y="493"/>
                </a:lnTo>
                <a:lnTo>
                  <a:pt x="653" y="495"/>
                </a:lnTo>
                <a:lnTo>
                  <a:pt x="643" y="495"/>
                </a:lnTo>
                <a:lnTo>
                  <a:pt x="631" y="495"/>
                </a:lnTo>
                <a:lnTo>
                  <a:pt x="621" y="497"/>
                </a:lnTo>
                <a:lnTo>
                  <a:pt x="609" y="502"/>
                </a:lnTo>
                <a:lnTo>
                  <a:pt x="599" y="505"/>
                </a:lnTo>
                <a:lnTo>
                  <a:pt x="589" y="508"/>
                </a:lnTo>
                <a:lnTo>
                  <a:pt x="568" y="510"/>
                </a:lnTo>
                <a:lnTo>
                  <a:pt x="548" y="512"/>
                </a:lnTo>
                <a:lnTo>
                  <a:pt x="542" y="512"/>
                </a:lnTo>
                <a:lnTo>
                  <a:pt x="536" y="513"/>
                </a:lnTo>
                <a:lnTo>
                  <a:pt x="530" y="515"/>
                </a:lnTo>
                <a:lnTo>
                  <a:pt x="523" y="520"/>
                </a:lnTo>
                <a:lnTo>
                  <a:pt x="506" y="532"/>
                </a:lnTo>
                <a:lnTo>
                  <a:pt x="488" y="544"/>
                </a:lnTo>
                <a:lnTo>
                  <a:pt x="469" y="555"/>
                </a:lnTo>
                <a:lnTo>
                  <a:pt x="452" y="566"/>
                </a:lnTo>
                <a:lnTo>
                  <a:pt x="456" y="577"/>
                </a:lnTo>
                <a:lnTo>
                  <a:pt x="457" y="587"/>
                </a:lnTo>
                <a:lnTo>
                  <a:pt x="457" y="596"/>
                </a:lnTo>
                <a:lnTo>
                  <a:pt x="456" y="604"/>
                </a:lnTo>
                <a:lnTo>
                  <a:pt x="454" y="611"/>
                </a:lnTo>
                <a:lnTo>
                  <a:pt x="451" y="618"/>
                </a:lnTo>
                <a:lnTo>
                  <a:pt x="447" y="623"/>
                </a:lnTo>
                <a:lnTo>
                  <a:pt x="442" y="628"/>
                </a:lnTo>
                <a:lnTo>
                  <a:pt x="432" y="636"/>
                </a:lnTo>
                <a:lnTo>
                  <a:pt x="419" y="645"/>
                </a:lnTo>
                <a:lnTo>
                  <a:pt x="405" y="650"/>
                </a:lnTo>
                <a:lnTo>
                  <a:pt x="390" y="656"/>
                </a:lnTo>
                <a:lnTo>
                  <a:pt x="382" y="658"/>
                </a:lnTo>
                <a:lnTo>
                  <a:pt x="373" y="662"/>
                </a:lnTo>
                <a:lnTo>
                  <a:pt x="366" y="667"/>
                </a:lnTo>
                <a:lnTo>
                  <a:pt x="358" y="672"/>
                </a:lnTo>
                <a:lnTo>
                  <a:pt x="346" y="682"/>
                </a:lnTo>
                <a:lnTo>
                  <a:pt x="335" y="695"/>
                </a:lnTo>
                <a:lnTo>
                  <a:pt x="328" y="700"/>
                </a:lnTo>
                <a:lnTo>
                  <a:pt x="321" y="705"/>
                </a:lnTo>
                <a:lnTo>
                  <a:pt x="313" y="709"/>
                </a:lnTo>
                <a:lnTo>
                  <a:pt x="306" y="710"/>
                </a:lnTo>
                <a:lnTo>
                  <a:pt x="289" y="710"/>
                </a:lnTo>
                <a:lnTo>
                  <a:pt x="274" y="709"/>
                </a:lnTo>
                <a:lnTo>
                  <a:pt x="262" y="707"/>
                </a:lnTo>
                <a:lnTo>
                  <a:pt x="254" y="705"/>
                </a:lnTo>
                <a:lnTo>
                  <a:pt x="245" y="707"/>
                </a:lnTo>
                <a:lnTo>
                  <a:pt x="240" y="709"/>
                </a:lnTo>
                <a:lnTo>
                  <a:pt x="234" y="712"/>
                </a:lnTo>
                <a:lnTo>
                  <a:pt x="230" y="717"/>
                </a:lnTo>
                <a:lnTo>
                  <a:pt x="225" y="722"/>
                </a:lnTo>
                <a:lnTo>
                  <a:pt x="222" y="729"/>
                </a:lnTo>
                <a:lnTo>
                  <a:pt x="217" y="739"/>
                </a:lnTo>
                <a:lnTo>
                  <a:pt x="212" y="744"/>
                </a:lnTo>
                <a:lnTo>
                  <a:pt x="205" y="747"/>
                </a:lnTo>
                <a:lnTo>
                  <a:pt x="200" y="747"/>
                </a:lnTo>
                <a:lnTo>
                  <a:pt x="195" y="746"/>
                </a:lnTo>
                <a:lnTo>
                  <a:pt x="188" y="741"/>
                </a:lnTo>
                <a:lnTo>
                  <a:pt x="183" y="736"/>
                </a:lnTo>
                <a:lnTo>
                  <a:pt x="178" y="729"/>
                </a:lnTo>
                <a:lnTo>
                  <a:pt x="164" y="719"/>
                </a:lnTo>
                <a:lnTo>
                  <a:pt x="154" y="712"/>
                </a:lnTo>
                <a:lnTo>
                  <a:pt x="149" y="710"/>
                </a:lnTo>
                <a:lnTo>
                  <a:pt x="144" y="710"/>
                </a:lnTo>
                <a:lnTo>
                  <a:pt x="141" y="710"/>
                </a:lnTo>
                <a:lnTo>
                  <a:pt x="138" y="712"/>
                </a:lnTo>
                <a:lnTo>
                  <a:pt x="129" y="717"/>
                </a:lnTo>
                <a:lnTo>
                  <a:pt x="124" y="726"/>
                </a:lnTo>
                <a:lnTo>
                  <a:pt x="119" y="736"/>
                </a:lnTo>
                <a:lnTo>
                  <a:pt x="114" y="749"/>
                </a:lnTo>
                <a:lnTo>
                  <a:pt x="106" y="776"/>
                </a:lnTo>
                <a:lnTo>
                  <a:pt x="95" y="803"/>
                </a:lnTo>
                <a:lnTo>
                  <a:pt x="87" y="830"/>
                </a:lnTo>
                <a:lnTo>
                  <a:pt x="77" y="857"/>
                </a:lnTo>
                <a:lnTo>
                  <a:pt x="72" y="870"/>
                </a:lnTo>
                <a:lnTo>
                  <a:pt x="65" y="882"/>
                </a:lnTo>
                <a:lnTo>
                  <a:pt x="60" y="886"/>
                </a:lnTo>
                <a:lnTo>
                  <a:pt x="55" y="889"/>
                </a:lnTo>
                <a:lnTo>
                  <a:pt x="48" y="891"/>
                </a:lnTo>
                <a:lnTo>
                  <a:pt x="42" y="892"/>
                </a:lnTo>
                <a:lnTo>
                  <a:pt x="26" y="897"/>
                </a:lnTo>
                <a:lnTo>
                  <a:pt x="16" y="902"/>
                </a:lnTo>
                <a:lnTo>
                  <a:pt x="11" y="907"/>
                </a:lnTo>
                <a:lnTo>
                  <a:pt x="8" y="911"/>
                </a:lnTo>
                <a:lnTo>
                  <a:pt x="8" y="914"/>
                </a:lnTo>
                <a:lnTo>
                  <a:pt x="11" y="918"/>
                </a:lnTo>
                <a:lnTo>
                  <a:pt x="18" y="919"/>
                </a:lnTo>
                <a:lnTo>
                  <a:pt x="30" y="921"/>
                </a:lnTo>
                <a:lnTo>
                  <a:pt x="38" y="924"/>
                </a:lnTo>
                <a:lnTo>
                  <a:pt x="47" y="929"/>
                </a:lnTo>
                <a:lnTo>
                  <a:pt x="53" y="934"/>
                </a:lnTo>
                <a:lnTo>
                  <a:pt x="57" y="939"/>
                </a:lnTo>
                <a:lnTo>
                  <a:pt x="58" y="948"/>
                </a:lnTo>
                <a:lnTo>
                  <a:pt x="58" y="956"/>
                </a:lnTo>
                <a:lnTo>
                  <a:pt x="55" y="968"/>
                </a:lnTo>
                <a:lnTo>
                  <a:pt x="50" y="980"/>
                </a:lnTo>
                <a:lnTo>
                  <a:pt x="43" y="997"/>
                </a:lnTo>
                <a:lnTo>
                  <a:pt x="35" y="1010"/>
                </a:lnTo>
                <a:lnTo>
                  <a:pt x="32" y="1015"/>
                </a:lnTo>
                <a:lnTo>
                  <a:pt x="26" y="1020"/>
                </a:lnTo>
                <a:lnTo>
                  <a:pt x="21" y="1025"/>
                </a:lnTo>
                <a:lnTo>
                  <a:pt x="16" y="1027"/>
                </a:lnTo>
                <a:lnTo>
                  <a:pt x="11" y="1029"/>
                </a:lnTo>
                <a:lnTo>
                  <a:pt x="6" y="1034"/>
                </a:lnTo>
                <a:lnTo>
                  <a:pt x="5" y="1040"/>
                </a:lnTo>
                <a:lnTo>
                  <a:pt x="3" y="1051"/>
                </a:lnTo>
                <a:lnTo>
                  <a:pt x="0" y="1056"/>
                </a:lnTo>
                <a:lnTo>
                  <a:pt x="0" y="1061"/>
                </a:lnTo>
                <a:lnTo>
                  <a:pt x="0" y="1064"/>
                </a:lnTo>
                <a:lnTo>
                  <a:pt x="0" y="1067"/>
                </a:lnTo>
                <a:lnTo>
                  <a:pt x="3" y="1067"/>
                </a:lnTo>
                <a:lnTo>
                  <a:pt x="6" y="1067"/>
                </a:lnTo>
                <a:lnTo>
                  <a:pt x="10" y="1066"/>
                </a:lnTo>
                <a:lnTo>
                  <a:pt x="16" y="1064"/>
                </a:lnTo>
                <a:lnTo>
                  <a:pt x="23" y="1061"/>
                </a:lnTo>
                <a:lnTo>
                  <a:pt x="28" y="1059"/>
                </a:lnTo>
                <a:lnTo>
                  <a:pt x="33" y="1059"/>
                </a:lnTo>
                <a:lnTo>
                  <a:pt x="37" y="1062"/>
                </a:lnTo>
                <a:lnTo>
                  <a:pt x="40" y="1067"/>
                </a:lnTo>
                <a:lnTo>
                  <a:pt x="40" y="1072"/>
                </a:lnTo>
                <a:lnTo>
                  <a:pt x="38" y="1079"/>
                </a:lnTo>
                <a:lnTo>
                  <a:pt x="37" y="1086"/>
                </a:lnTo>
                <a:lnTo>
                  <a:pt x="26" y="1103"/>
                </a:lnTo>
                <a:lnTo>
                  <a:pt x="18" y="1120"/>
                </a:lnTo>
                <a:lnTo>
                  <a:pt x="10" y="1135"/>
                </a:lnTo>
                <a:lnTo>
                  <a:pt x="0" y="1148"/>
                </a:lnTo>
                <a:lnTo>
                  <a:pt x="5" y="1165"/>
                </a:lnTo>
                <a:lnTo>
                  <a:pt x="6" y="1173"/>
                </a:lnTo>
                <a:lnTo>
                  <a:pt x="6" y="1184"/>
                </a:lnTo>
                <a:lnTo>
                  <a:pt x="5" y="1199"/>
                </a:lnTo>
                <a:lnTo>
                  <a:pt x="6" y="1202"/>
                </a:lnTo>
                <a:lnTo>
                  <a:pt x="11" y="1204"/>
                </a:lnTo>
                <a:lnTo>
                  <a:pt x="16" y="1205"/>
                </a:lnTo>
                <a:lnTo>
                  <a:pt x="23" y="1204"/>
                </a:lnTo>
                <a:lnTo>
                  <a:pt x="28" y="1204"/>
                </a:lnTo>
                <a:lnTo>
                  <a:pt x="33" y="1204"/>
                </a:lnTo>
                <a:lnTo>
                  <a:pt x="37" y="1205"/>
                </a:lnTo>
                <a:lnTo>
                  <a:pt x="42" y="1209"/>
                </a:lnTo>
                <a:lnTo>
                  <a:pt x="45" y="1214"/>
                </a:lnTo>
                <a:lnTo>
                  <a:pt x="48" y="1221"/>
                </a:lnTo>
                <a:lnTo>
                  <a:pt x="52" y="1231"/>
                </a:lnTo>
                <a:lnTo>
                  <a:pt x="55" y="1246"/>
                </a:lnTo>
                <a:lnTo>
                  <a:pt x="55" y="1253"/>
                </a:lnTo>
                <a:lnTo>
                  <a:pt x="58" y="1259"/>
                </a:lnTo>
                <a:lnTo>
                  <a:pt x="62" y="1263"/>
                </a:lnTo>
                <a:lnTo>
                  <a:pt x="67" y="1266"/>
                </a:lnTo>
                <a:lnTo>
                  <a:pt x="74" y="1266"/>
                </a:lnTo>
                <a:lnTo>
                  <a:pt x="82" y="1266"/>
                </a:lnTo>
                <a:lnTo>
                  <a:pt x="90" y="1263"/>
                </a:lnTo>
                <a:lnTo>
                  <a:pt x="101" y="1258"/>
                </a:lnTo>
                <a:lnTo>
                  <a:pt x="107" y="1254"/>
                </a:lnTo>
                <a:lnTo>
                  <a:pt x="114" y="1251"/>
                </a:lnTo>
                <a:lnTo>
                  <a:pt x="121" y="1251"/>
                </a:lnTo>
                <a:lnTo>
                  <a:pt x="127" y="1251"/>
                </a:lnTo>
                <a:lnTo>
                  <a:pt x="136" y="1251"/>
                </a:lnTo>
                <a:lnTo>
                  <a:pt x="144" y="1254"/>
                </a:lnTo>
                <a:lnTo>
                  <a:pt x="153" y="1259"/>
                </a:lnTo>
                <a:lnTo>
                  <a:pt x="163" y="1266"/>
                </a:lnTo>
                <a:lnTo>
                  <a:pt x="173" y="1269"/>
                </a:lnTo>
                <a:lnTo>
                  <a:pt x="183" y="1273"/>
                </a:lnTo>
                <a:lnTo>
                  <a:pt x="191" y="1273"/>
                </a:lnTo>
                <a:lnTo>
                  <a:pt x="200" y="1273"/>
                </a:lnTo>
                <a:lnTo>
                  <a:pt x="208" y="1271"/>
                </a:lnTo>
                <a:lnTo>
                  <a:pt x="215" y="1269"/>
                </a:lnTo>
                <a:lnTo>
                  <a:pt x="222" y="1266"/>
                </a:lnTo>
                <a:lnTo>
                  <a:pt x="228" y="1263"/>
                </a:lnTo>
                <a:lnTo>
                  <a:pt x="239" y="1251"/>
                </a:lnTo>
                <a:lnTo>
                  <a:pt x="247" y="1246"/>
                </a:lnTo>
                <a:lnTo>
                  <a:pt x="250" y="1246"/>
                </a:lnTo>
                <a:lnTo>
                  <a:pt x="254" y="1249"/>
                </a:lnTo>
                <a:lnTo>
                  <a:pt x="257" y="1254"/>
                </a:lnTo>
                <a:lnTo>
                  <a:pt x="260" y="1263"/>
                </a:lnTo>
                <a:lnTo>
                  <a:pt x="271" y="1273"/>
                </a:lnTo>
                <a:lnTo>
                  <a:pt x="279" y="1283"/>
                </a:lnTo>
                <a:lnTo>
                  <a:pt x="291" y="1298"/>
                </a:lnTo>
                <a:lnTo>
                  <a:pt x="303" y="1313"/>
                </a:lnTo>
                <a:lnTo>
                  <a:pt x="311" y="1322"/>
                </a:lnTo>
                <a:lnTo>
                  <a:pt x="321" y="1332"/>
                </a:lnTo>
                <a:lnTo>
                  <a:pt x="331" y="1339"/>
                </a:lnTo>
                <a:lnTo>
                  <a:pt x="341" y="1344"/>
                </a:lnTo>
                <a:lnTo>
                  <a:pt x="355" y="1347"/>
                </a:lnTo>
                <a:lnTo>
                  <a:pt x="368" y="1349"/>
                </a:lnTo>
                <a:lnTo>
                  <a:pt x="383" y="1347"/>
                </a:lnTo>
                <a:lnTo>
                  <a:pt x="400" y="1342"/>
                </a:lnTo>
                <a:lnTo>
                  <a:pt x="407" y="1339"/>
                </a:lnTo>
                <a:lnTo>
                  <a:pt x="412" y="1335"/>
                </a:lnTo>
                <a:lnTo>
                  <a:pt x="417" y="1335"/>
                </a:lnTo>
                <a:lnTo>
                  <a:pt x="422" y="1337"/>
                </a:lnTo>
                <a:lnTo>
                  <a:pt x="427" y="1340"/>
                </a:lnTo>
                <a:lnTo>
                  <a:pt x="432" y="1345"/>
                </a:lnTo>
                <a:lnTo>
                  <a:pt x="437" y="1350"/>
                </a:lnTo>
                <a:lnTo>
                  <a:pt x="442" y="1359"/>
                </a:lnTo>
                <a:lnTo>
                  <a:pt x="454" y="1365"/>
                </a:lnTo>
                <a:lnTo>
                  <a:pt x="464" y="1372"/>
                </a:lnTo>
                <a:lnTo>
                  <a:pt x="467" y="1377"/>
                </a:lnTo>
                <a:lnTo>
                  <a:pt x="471" y="1382"/>
                </a:lnTo>
                <a:lnTo>
                  <a:pt x="471" y="1387"/>
                </a:lnTo>
                <a:lnTo>
                  <a:pt x="471" y="1396"/>
                </a:lnTo>
                <a:lnTo>
                  <a:pt x="473" y="1408"/>
                </a:lnTo>
                <a:lnTo>
                  <a:pt x="476" y="1421"/>
                </a:lnTo>
                <a:lnTo>
                  <a:pt x="479" y="1426"/>
                </a:lnTo>
                <a:lnTo>
                  <a:pt x="488" y="1433"/>
                </a:lnTo>
                <a:lnTo>
                  <a:pt x="499" y="1440"/>
                </a:lnTo>
                <a:lnTo>
                  <a:pt x="518" y="1446"/>
                </a:lnTo>
                <a:lnTo>
                  <a:pt x="530" y="1448"/>
                </a:lnTo>
                <a:lnTo>
                  <a:pt x="540" y="1451"/>
                </a:lnTo>
                <a:lnTo>
                  <a:pt x="545" y="1453"/>
                </a:lnTo>
                <a:lnTo>
                  <a:pt x="547" y="1455"/>
                </a:lnTo>
                <a:lnTo>
                  <a:pt x="550" y="1458"/>
                </a:lnTo>
                <a:lnTo>
                  <a:pt x="552" y="1463"/>
                </a:lnTo>
                <a:lnTo>
                  <a:pt x="563" y="1475"/>
                </a:lnTo>
                <a:lnTo>
                  <a:pt x="570" y="1483"/>
                </a:lnTo>
                <a:lnTo>
                  <a:pt x="574" y="1490"/>
                </a:lnTo>
                <a:lnTo>
                  <a:pt x="575" y="1495"/>
                </a:lnTo>
                <a:lnTo>
                  <a:pt x="577" y="1514"/>
                </a:lnTo>
                <a:lnTo>
                  <a:pt x="579" y="1532"/>
                </a:lnTo>
                <a:lnTo>
                  <a:pt x="575" y="1541"/>
                </a:lnTo>
                <a:lnTo>
                  <a:pt x="572" y="1547"/>
                </a:lnTo>
                <a:lnTo>
                  <a:pt x="565" y="1552"/>
                </a:lnTo>
                <a:lnTo>
                  <a:pt x="557" y="1556"/>
                </a:lnTo>
                <a:lnTo>
                  <a:pt x="548" y="1559"/>
                </a:lnTo>
                <a:lnTo>
                  <a:pt x="540" y="1564"/>
                </a:lnTo>
                <a:lnTo>
                  <a:pt x="533" y="1571"/>
                </a:lnTo>
                <a:lnTo>
                  <a:pt x="525" y="1578"/>
                </a:lnTo>
                <a:lnTo>
                  <a:pt x="511" y="1596"/>
                </a:lnTo>
                <a:lnTo>
                  <a:pt x="499" y="1615"/>
                </a:lnTo>
                <a:lnTo>
                  <a:pt x="484" y="1635"/>
                </a:lnTo>
                <a:lnTo>
                  <a:pt x="469" y="1653"/>
                </a:lnTo>
                <a:lnTo>
                  <a:pt x="454" y="1674"/>
                </a:lnTo>
                <a:lnTo>
                  <a:pt x="441" y="1692"/>
                </a:lnTo>
                <a:lnTo>
                  <a:pt x="434" y="1697"/>
                </a:lnTo>
                <a:lnTo>
                  <a:pt x="429" y="1702"/>
                </a:lnTo>
                <a:lnTo>
                  <a:pt x="425" y="1707"/>
                </a:lnTo>
                <a:lnTo>
                  <a:pt x="424" y="1712"/>
                </a:lnTo>
                <a:lnTo>
                  <a:pt x="425" y="1717"/>
                </a:lnTo>
                <a:lnTo>
                  <a:pt x="427" y="1724"/>
                </a:lnTo>
                <a:lnTo>
                  <a:pt x="432" y="1729"/>
                </a:lnTo>
                <a:lnTo>
                  <a:pt x="442" y="1734"/>
                </a:lnTo>
                <a:lnTo>
                  <a:pt x="451" y="1744"/>
                </a:lnTo>
                <a:lnTo>
                  <a:pt x="462" y="1753"/>
                </a:lnTo>
                <a:lnTo>
                  <a:pt x="469" y="1756"/>
                </a:lnTo>
                <a:lnTo>
                  <a:pt x="478" y="1760"/>
                </a:lnTo>
                <a:lnTo>
                  <a:pt x="488" y="1763"/>
                </a:lnTo>
                <a:lnTo>
                  <a:pt x="498" y="1765"/>
                </a:lnTo>
                <a:lnTo>
                  <a:pt x="510" y="1761"/>
                </a:lnTo>
                <a:lnTo>
                  <a:pt x="518" y="1761"/>
                </a:lnTo>
                <a:lnTo>
                  <a:pt x="526" y="1761"/>
                </a:lnTo>
                <a:lnTo>
                  <a:pt x="535" y="1763"/>
                </a:lnTo>
                <a:lnTo>
                  <a:pt x="542" y="1766"/>
                </a:lnTo>
                <a:lnTo>
                  <a:pt x="547" y="1770"/>
                </a:lnTo>
                <a:lnTo>
                  <a:pt x="552" y="1775"/>
                </a:lnTo>
                <a:lnTo>
                  <a:pt x="555" y="1781"/>
                </a:lnTo>
                <a:lnTo>
                  <a:pt x="563" y="1786"/>
                </a:lnTo>
                <a:lnTo>
                  <a:pt x="575" y="1795"/>
                </a:lnTo>
                <a:lnTo>
                  <a:pt x="587" y="1807"/>
                </a:lnTo>
                <a:lnTo>
                  <a:pt x="599" y="1818"/>
                </a:lnTo>
                <a:lnTo>
                  <a:pt x="609" y="1830"/>
                </a:lnTo>
                <a:lnTo>
                  <a:pt x="619" y="1839"/>
                </a:lnTo>
                <a:lnTo>
                  <a:pt x="624" y="1842"/>
                </a:lnTo>
                <a:lnTo>
                  <a:pt x="627" y="1845"/>
                </a:lnTo>
                <a:lnTo>
                  <a:pt x="631" y="1845"/>
                </a:lnTo>
                <a:lnTo>
                  <a:pt x="634" y="1845"/>
                </a:lnTo>
                <a:lnTo>
                  <a:pt x="643" y="1845"/>
                </a:lnTo>
                <a:lnTo>
                  <a:pt x="649" y="1847"/>
                </a:lnTo>
                <a:lnTo>
                  <a:pt x="656" y="1850"/>
                </a:lnTo>
                <a:lnTo>
                  <a:pt x="659" y="1856"/>
                </a:lnTo>
                <a:lnTo>
                  <a:pt x="663" y="1861"/>
                </a:lnTo>
                <a:lnTo>
                  <a:pt x="664" y="1869"/>
                </a:lnTo>
                <a:lnTo>
                  <a:pt x="666" y="1877"/>
                </a:lnTo>
                <a:lnTo>
                  <a:pt x="664" y="1888"/>
                </a:lnTo>
                <a:lnTo>
                  <a:pt x="666" y="1903"/>
                </a:lnTo>
                <a:lnTo>
                  <a:pt x="669" y="1918"/>
                </a:lnTo>
                <a:lnTo>
                  <a:pt x="671" y="1925"/>
                </a:lnTo>
                <a:lnTo>
                  <a:pt x="675" y="1930"/>
                </a:lnTo>
                <a:lnTo>
                  <a:pt x="678" y="1936"/>
                </a:lnTo>
                <a:lnTo>
                  <a:pt x="683" y="1941"/>
                </a:lnTo>
                <a:lnTo>
                  <a:pt x="685" y="1950"/>
                </a:lnTo>
                <a:lnTo>
                  <a:pt x="688" y="1957"/>
                </a:lnTo>
                <a:lnTo>
                  <a:pt x="693" y="1962"/>
                </a:lnTo>
                <a:lnTo>
                  <a:pt x="701" y="1967"/>
                </a:lnTo>
                <a:lnTo>
                  <a:pt x="712" y="1970"/>
                </a:lnTo>
                <a:lnTo>
                  <a:pt x="727" y="1972"/>
                </a:lnTo>
                <a:lnTo>
                  <a:pt x="745" y="1970"/>
                </a:lnTo>
                <a:lnTo>
                  <a:pt x="767" y="1967"/>
                </a:lnTo>
                <a:lnTo>
                  <a:pt x="781" y="1968"/>
                </a:lnTo>
                <a:lnTo>
                  <a:pt x="794" y="1968"/>
                </a:lnTo>
                <a:lnTo>
                  <a:pt x="801" y="1967"/>
                </a:lnTo>
                <a:lnTo>
                  <a:pt x="808" y="1965"/>
                </a:lnTo>
                <a:lnTo>
                  <a:pt x="814" y="1963"/>
                </a:lnTo>
                <a:lnTo>
                  <a:pt x="823" y="1958"/>
                </a:lnTo>
                <a:lnTo>
                  <a:pt x="831" y="1953"/>
                </a:lnTo>
                <a:lnTo>
                  <a:pt x="839" y="1950"/>
                </a:lnTo>
                <a:lnTo>
                  <a:pt x="850" y="1948"/>
                </a:lnTo>
                <a:lnTo>
                  <a:pt x="858" y="1946"/>
                </a:lnTo>
                <a:lnTo>
                  <a:pt x="878" y="1920"/>
                </a:lnTo>
                <a:lnTo>
                  <a:pt x="898" y="1894"/>
                </a:lnTo>
                <a:lnTo>
                  <a:pt x="910" y="1882"/>
                </a:lnTo>
                <a:lnTo>
                  <a:pt x="920" y="1872"/>
                </a:lnTo>
                <a:lnTo>
                  <a:pt x="932" y="1864"/>
                </a:lnTo>
                <a:lnTo>
                  <a:pt x="942" y="1856"/>
                </a:lnTo>
                <a:lnTo>
                  <a:pt x="951" y="1847"/>
                </a:lnTo>
                <a:lnTo>
                  <a:pt x="959" y="1842"/>
                </a:lnTo>
                <a:lnTo>
                  <a:pt x="962" y="1840"/>
                </a:lnTo>
                <a:lnTo>
                  <a:pt x="966" y="1839"/>
                </a:lnTo>
                <a:lnTo>
                  <a:pt x="971" y="1840"/>
                </a:lnTo>
                <a:lnTo>
                  <a:pt x="974" y="1840"/>
                </a:lnTo>
                <a:lnTo>
                  <a:pt x="981" y="1840"/>
                </a:lnTo>
                <a:lnTo>
                  <a:pt x="986" y="1837"/>
                </a:lnTo>
                <a:lnTo>
                  <a:pt x="989" y="1834"/>
                </a:lnTo>
                <a:lnTo>
                  <a:pt x="993" y="1829"/>
                </a:lnTo>
                <a:lnTo>
                  <a:pt x="994" y="1820"/>
                </a:lnTo>
                <a:lnTo>
                  <a:pt x="998" y="1815"/>
                </a:lnTo>
                <a:lnTo>
                  <a:pt x="999" y="1812"/>
                </a:lnTo>
                <a:lnTo>
                  <a:pt x="1003" y="1812"/>
                </a:lnTo>
                <a:lnTo>
                  <a:pt x="1008" y="1813"/>
                </a:lnTo>
                <a:lnTo>
                  <a:pt x="1015" y="1820"/>
                </a:lnTo>
                <a:lnTo>
                  <a:pt x="1028" y="1820"/>
                </a:lnTo>
                <a:lnTo>
                  <a:pt x="1040" y="1820"/>
                </a:lnTo>
                <a:lnTo>
                  <a:pt x="1053" y="1820"/>
                </a:lnTo>
                <a:lnTo>
                  <a:pt x="1065" y="1820"/>
                </a:lnTo>
                <a:lnTo>
                  <a:pt x="1072" y="1820"/>
                </a:lnTo>
                <a:lnTo>
                  <a:pt x="1077" y="1818"/>
                </a:lnTo>
                <a:lnTo>
                  <a:pt x="1080" y="1815"/>
                </a:lnTo>
                <a:lnTo>
                  <a:pt x="1082" y="1813"/>
                </a:lnTo>
                <a:lnTo>
                  <a:pt x="1084" y="1810"/>
                </a:lnTo>
                <a:lnTo>
                  <a:pt x="1084" y="1805"/>
                </a:lnTo>
                <a:lnTo>
                  <a:pt x="1082" y="1800"/>
                </a:lnTo>
                <a:lnTo>
                  <a:pt x="1080" y="1795"/>
                </a:lnTo>
                <a:lnTo>
                  <a:pt x="1075" y="1788"/>
                </a:lnTo>
                <a:lnTo>
                  <a:pt x="1073" y="1783"/>
                </a:lnTo>
                <a:lnTo>
                  <a:pt x="1075" y="1778"/>
                </a:lnTo>
                <a:lnTo>
                  <a:pt x="1079" y="1775"/>
                </a:lnTo>
                <a:lnTo>
                  <a:pt x="1084" y="1766"/>
                </a:lnTo>
                <a:lnTo>
                  <a:pt x="1085" y="1756"/>
                </a:lnTo>
                <a:lnTo>
                  <a:pt x="1085" y="1746"/>
                </a:lnTo>
                <a:lnTo>
                  <a:pt x="1085" y="1734"/>
                </a:lnTo>
                <a:lnTo>
                  <a:pt x="1084" y="1731"/>
                </a:lnTo>
                <a:lnTo>
                  <a:pt x="1084" y="1728"/>
                </a:lnTo>
                <a:lnTo>
                  <a:pt x="1084" y="1724"/>
                </a:lnTo>
                <a:lnTo>
                  <a:pt x="1085" y="1722"/>
                </a:lnTo>
                <a:lnTo>
                  <a:pt x="1089" y="1721"/>
                </a:lnTo>
                <a:lnTo>
                  <a:pt x="1092" y="1721"/>
                </a:lnTo>
                <a:lnTo>
                  <a:pt x="1095" y="1722"/>
                </a:lnTo>
                <a:lnTo>
                  <a:pt x="1099" y="1726"/>
                </a:lnTo>
                <a:lnTo>
                  <a:pt x="1107" y="1726"/>
                </a:lnTo>
                <a:lnTo>
                  <a:pt x="1112" y="1726"/>
                </a:lnTo>
                <a:lnTo>
                  <a:pt x="1116" y="1724"/>
                </a:lnTo>
                <a:lnTo>
                  <a:pt x="1116" y="1722"/>
                </a:lnTo>
                <a:lnTo>
                  <a:pt x="1116" y="1719"/>
                </a:lnTo>
                <a:lnTo>
                  <a:pt x="1112" y="1714"/>
                </a:lnTo>
                <a:lnTo>
                  <a:pt x="1109" y="1711"/>
                </a:lnTo>
                <a:lnTo>
                  <a:pt x="1107" y="1707"/>
                </a:lnTo>
                <a:lnTo>
                  <a:pt x="1107" y="1704"/>
                </a:lnTo>
                <a:lnTo>
                  <a:pt x="1107" y="1702"/>
                </a:lnTo>
                <a:lnTo>
                  <a:pt x="1112" y="1699"/>
                </a:lnTo>
                <a:lnTo>
                  <a:pt x="1122" y="1699"/>
                </a:lnTo>
                <a:lnTo>
                  <a:pt x="1129" y="1696"/>
                </a:lnTo>
                <a:lnTo>
                  <a:pt x="1136" y="1692"/>
                </a:lnTo>
                <a:lnTo>
                  <a:pt x="1139" y="1682"/>
                </a:lnTo>
                <a:lnTo>
                  <a:pt x="1141" y="1680"/>
                </a:lnTo>
                <a:lnTo>
                  <a:pt x="1144" y="1682"/>
                </a:lnTo>
                <a:lnTo>
                  <a:pt x="1148" y="1690"/>
                </a:lnTo>
                <a:lnTo>
                  <a:pt x="1153" y="1701"/>
                </a:lnTo>
                <a:lnTo>
                  <a:pt x="1156" y="1706"/>
                </a:lnTo>
                <a:lnTo>
                  <a:pt x="1159" y="1704"/>
                </a:lnTo>
                <a:lnTo>
                  <a:pt x="1161" y="1696"/>
                </a:lnTo>
                <a:lnTo>
                  <a:pt x="1161" y="1687"/>
                </a:lnTo>
                <a:lnTo>
                  <a:pt x="1163" y="1680"/>
                </a:lnTo>
                <a:lnTo>
                  <a:pt x="1164" y="1675"/>
                </a:lnTo>
                <a:lnTo>
                  <a:pt x="1166" y="1674"/>
                </a:lnTo>
                <a:lnTo>
                  <a:pt x="1171" y="1672"/>
                </a:lnTo>
                <a:lnTo>
                  <a:pt x="1174" y="1672"/>
                </a:lnTo>
                <a:lnTo>
                  <a:pt x="1180" y="1675"/>
                </a:lnTo>
                <a:lnTo>
                  <a:pt x="1186" y="1679"/>
                </a:lnTo>
                <a:lnTo>
                  <a:pt x="1191" y="1692"/>
                </a:lnTo>
                <a:lnTo>
                  <a:pt x="1198" y="1704"/>
                </a:lnTo>
                <a:lnTo>
                  <a:pt x="1200" y="1709"/>
                </a:lnTo>
                <a:lnTo>
                  <a:pt x="1201" y="1711"/>
                </a:lnTo>
                <a:lnTo>
                  <a:pt x="1205" y="1712"/>
                </a:lnTo>
                <a:lnTo>
                  <a:pt x="1206" y="1714"/>
                </a:lnTo>
                <a:lnTo>
                  <a:pt x="1211" y="1711"/>
                </a:lnTo>
                <a:lnTo>
                  <a:pt x="1218" y="1704"/>
                </a:lnTo>
                <a:lnTo>
                  <a:pt x="1220" y="1694"/>
                </a:lnTo>
                <a:lnTo>
                  <a:pt x="1223" y="1687"/>
                </a:lnTo>
                <a:lnTo>
                  <a:pt x="1227" y="1682"/>
                </a:lnTo>
                <a:lnTo>
                  <a:pt x="1230" y="1679"/>
                </a:lnTo>
                <a:lnTo>
                  <a:pt x="1233" y="1675"/>
                </a:lnTo>
                <a:lnTo>
                  <a:pt x="1238" y="1675"/>
                </a:lnTo>
                <a:lnTo>
                  <a:pt x="1245" y="1675"/>
                </a:lnTo>
                <a:lnTo>
                  <a:pt x="1250" y="1677"/>
                </a:lnTo>
                <a:lnTo>
                  <a:pt x="1259" y="1679"/>
                </a:lnTo>
                <a:lnTo>
                  <a:pt x="1265" y="1677"/>
                </a:lnTo>
                <a:lnTo>
                  <a:pt x="1274" y="1675"/>
                </a:lnTo>
                <a:lnTo>
                  <a:pt x="1282" y="1670"/>
                </a:lnTo>
                <a:lnTo>
                  <a:pt x="1289" y="1665"/>
                </a:lnTo>
                <a:lnTo>
                  <a:pt x="1296" y="1662"/>
                </a:lnTo>
                <a:lnTo>
                  <a:pt x="1302" y="1664"/>
                </a:lnTo>
                <a:lnTo>
                  <a:pt x="1311" y="1667"/>
                </a:lnTo>
                <a:lnTo>
                  <a:pt x="1324" y="1669"/>
                </a:lnTo>
                <a:lnTo>
                  <a:pt x="1338" y="1669"/>
                </a:lnTo>
                <a:lnTo>
                  <a:pt x="1350" y="1669"/>
                </a:lnTo>
                <a:lnTo>
                  <a:pt x="1361" y="1667"/>
                </a:lnTo>
                <a:lnTo>
                  <a:pt x="1370" y="1664"/>
                </a:lnTo>
                <a:lnTo>
                  <a:pt x="1376" y="1662"/>
                </a:lnTo>
                <a:lnTo>
                  <a:pt x="1382" y="1657"/>
                </a:lnTo>
                <a:lnTo>
                  <a:pt x="1383" y="1653"/>
                </a:lnTo>
                <a:lnTo>
                  <a:pt x="1385" y="1642"/>
                </a:lnTo>
                <a:lnTo>
                  <a:pt x="1387" y="1635"/>
                </a:lnTo>
                <a:lnTo>
                  <a:pt x="1390" y="1628"/>
                </a:lnTo>
                <a:lnTo>
                  <a:pt x="1395" y="1625"/>
                </a:lnTo>
                <a:lnTo>
                  <a:pt x="1400" y="1623"/>
                </a:lnTo>
                <a:lnTo>
                  <a:pt x="1405" y="1623"/>
                </a:lnTo>
                <a:lnTo>
                  <a:pt x="1410" y="1626"/>
                </a:lnTo>
                <a:lnTo>
                  <a:pt x="1417" y="1630"/>
                </a:lnTo>
                <a:lnTo>
                  <a:pt x="1425" y="1632"/>
                </a:lnTo>
                <a:lnTo>
                  <a:pt x="1432" y="1630"/>
                </a:lnTo>
                <a:lnTo>
                  <a:pt x="1439" y="1628"/>
                </a:lnTo>
                <a:lnTo>
                  <a:pt x="1444" y="1625"/>
                </a:lnTo>
                <a:lnTo>
                  <a:pt x="1447" y="1621"/>
                </a:lnTo>
                <a:lnTo>
                  <a:pt x="1451" y="1615"/>
                </a:lnTo>
                <a:lnTo>
                  <a:pt x="1452" y="1608"/>
                </a:lnTo>
                <a:lnTo>
                  <a:pt x="1456" y="1600"/>
                </a:lnTo>
                <a:lnTo>
                  <a:pt x="1456" y="1588"/>
                </a:lnTo>
                <a:lnTo>
                  <a:pt x="1456" y="1578"/>
                </a:lnTo>
                <a:lnTo>
                  <a:pt x="1459" y="1568"/>
                </a:lnTo>
                <a:lnTo>
                  <a:pt x="1462" y="1561"/>
                </a:lnTo>
                <a:lnTo>
                  <a:pt x="1466" y="1556"/>
                </a:lnTo>
                <a:lnTo>
                  <a:pt x="1472" y="1552"/>
                </a:lnTo>
                <a:lnTo>
                  <a:pt x="1479" y="1551"/>
                </a:lnTo>
                <a:lnTo>
                  <a:pt x="1488" y="1551"/>
                </a:lnTo>
                <a:lnTo>
                  <a:pt x="1499" y="1549"/>
                </a:lnTo>
                <a:lnTo>
                  <a:pt x="1509" y="1549"/>
                </a:lnTo>
                <a:lnTo>
                  <a:pt x="1518" y="1551"/>
                </a:lnTo>
                <a:lnTo>
                  <a:pt x="1523" y="1556"/>
                </a:lnTo>
                <a:lnTo>
                  <a:pt x="1526" y="1561"/>
                </a:lnTo>
                <a:lnTo>
                  <a:pt x="1528" y="1568"/>
                </a:lnTo>
                <a:lnTo>
                  <a:pt x="1530" y="1576"/>
                </a:lnTo>
                <a:lnTo>
                  <a:pt x="1528" y="1586"/>
                </a:lnTo>
                <a:lnTo>
                  <a:pt x="1514" y="1601"/>
                </a:lnTo>
                <a:lnTo>
                  <a:pt x="1501" y="1615"/>
                </a:lnTo>
                <a:lnTo>
                  <a:pt x="1499" y="1620"/>
                </a:lnTo>
                <a:lnTo>
                  <a:pt x="1498" y="1625"/>
                </a:lnTo>
                <a:lnTo>
                  <a:pt x="1498" y="1628"/>
                </a:lnTo>
                <a:lnTo>
                  <a:pt x="1499" y="1630"/>
                </a:lnTo>
                <a:lnTo>
                  <a:pt x="1501" y="1632"/>
                </a:lnTo>
                <a:lnTo>
                  <a:pt x="1504" y="1633"/>
                </a:lnTo>
                <a:lnTo>
                  <a:pt x="1508" y="1633"/>
                </a:lnTo>
                <a:lnTo>
                  <a:pt x="1514" y="1633"/>
                </a:lnTo>
                <a:lnTo>
                  <a:pt x="1533" y="1628"/>
                </a:lnTo>
                <a:lnTo>
                  <a:pt x="1552" y="1625"/>
                </a:lnTo>
                <a:lnTo>
                  <a:pt x="1555" y="1621"/>
                </a:lnTo>
                <a:lnTo>
                  <a:pt x="1560" y="1620"/>
                </a:lnTo>
                <a:lnTo>
                  <a:pt x="1563" y="1620"/>
                </a:lnTo>
                <a:lnTo>
                  <a:pt x="1568" y="1621"/>
                </a:lnTo>
                <a:lnTo>
                  <a:pt x="1575" y="1625"/>
                </a:lnTo>
                <a:lnTo>
                  <a:pt x="1583" y="1632"/>
                </a:lnTo>
                <a:lnTo>
                  <a:pt x="1587" y="1637"/>
                </a:lnTo>
                <a:lnTo>
                  <a:pt x="1590" y="1640"/>
                </a:lnTo>
                <a:lnTo>
                  <a:pt x="1592" y="1643"/>
                </a:lnTo>
                <a:lnTo>
                  <a:pt x="1595" y="1645"/>
                </a:lnTo>
                <a:lnTo>
                  <a:pt x="1599" y="1645"/>
                </a:lnTo>
                <a:lnTo>
                  <a:pt x="1602" y="1643"/>
                </a:lnTo>
                <a:lnTo>
                  <a:pt x="1605" y="1640"/>
                </a:lnTo>
                <a:lnTo>
                  <a:pt x="1609" y="1638"/>
                </a:lnTo>
                <a:lnTo>
                  <a:pt x="1621" y="1625"/>
                </a:lnTo>
                <a:lnTo>
                  <a:pt x="1634" y="1611"/>
                </a:lnTo>
                <a:lnTo>
                  <a:pt x="1634" y="1598"/>
                </a:lnTo>
                <a:lnTo>
                  <a:pt x="1636" y="1588"/>
                </a:lnTo>
                <a:lnTo>
                  <a:pt x="1637" y="1583"/>
                </a:lnTo>
                <a:lnTo>
                  <a:pt x="1639" y="1581"/>
                </a:lnTo>
                <a:lnTo>
                  <a:pt x="1642" y="1579"/>
                </a:lnTo>
                <a:lnTo>
                  <a:pt x="1646" y="1581"/>
                </a:lnTo>
                <a:lnTo>
                  <a:pt x="1661" y="1584"/>
                </a:lnTo>
                <a:lnTo>
                  <a:pt x="1678" y="1589"/>
                </a:lnTo>
                <a:lnTo>
                  <a:pt x="1686" y="1591"/>
                </a:lnTo>
                <a:lnTo>
                  <a:pt x="1696" y="1591"/>
                </a:lnTo>
                <a:lnTo>
                  <a:pt x="1700" y="1591"/>
                </a:lnTo>
                <a:lnTo>
                  <a:pt x="1703" y="1588"/>
                </a:lnTo>
                <a:lnTo>
                  <a:pt x="1706" y="1584"/>
                </a:lnTo>
                <a:lnTo>
                  <a:pt x="1710" y="1581"/>
                </a:lnTo>
                <a:lnTo>
                  <a:pt x="1715" y="1573"/>
                </a:lnTo>
                <a:lnTo>
                  <a:pt x="1720" y="1563"/>
                </a:lnTo>
                <a:lnTo>
                  <a:pt x="1722" y="1554"/>
                </a:lnTo>
                <a:lnTo>
                  <a:pt x="1722" y="1544"/>
                </a:lnTo>
                <a:lnTo>
                  <a:pt x="1720" y="1534"/>
                </a:lnTo>
                <a:lnTo>
                  <a:pt x="1716" y="1525"/>
                </a:lnTo>
                <a:lnTo>
                  <a:pt x="1713" y="1514"/>
                </a:lnTo>
                <a:lnTo>
                  <a:pt x="1708" y="1504"/>
                </a:lnTo>
                <a:lnTo>
                  <a:pt x="1695" y="1475"/>
                </a:lnTo>
                <a:lnTo>
                  <a:pt x="1686" y="1446"/>
                </a:lnTo>
                <a:lnTo>
                  <a:pt x="1683" y="1433"/>
                </a:lnTo>
                <a:lnTo>
                  <a:pt x="1681" y="1419"/>
                </a:lnTo>
                <a:lnTo>
                  <a:pt x="1681" y="1406"/>
                </a:lnTo>
                <a:lnTo>
                  <a:pt x="1684" y="1394"/>
                </a:lnTo>
                <a:lnTo>
                  <a:pt x="1684" y="1379"/>
                </a:lnTo>
                <a:lnTo>
                  <a:pt x="1684" y="1362"/>
                </a:lnTo>
                <a:lnTo>
                  <a:pt x="1674" y="1367"/>
                </a:lnTo>
                <a:lnTo>
                  <a:pt x="1666" y="1369"/>
                </a:lnTo>
                <a:lnTo>
                  <a:pt x="1654" y="1371"/>
                </a:lnTo>
                <a:lnTo>
                  <a:pt x="1642" y="1369"/>
                </a:lnTo>
                <a:lnTo>
                  <a:pt x="1634" y="1369"/>
                </a:lnTo>
                <a:lnTo>
                  <a:pt x="1629" y="1371"/>
                </a:lnTo>
                <a:lnTo>
                  <a:pt x="1624" y="1374"/>
                </a:lnTo>
                <a:lnTo>
                  <a:pt x="1619" y="1379"/>
                </a:lnTo>
                <a:lnTo>
                  <a:pt x="1614" y="1389"/>
                </a:lnTo>
                <a:lnTo>
                  <a:pt x="1609" y="1396"/>
                </a:lnTo>
                <a:lnTo>
                  <a:pt x="1602" y="1401"/>
                </a:lnTo>
                <a:lnTo>
                  <a:pt x="1595" y="1403"/>
                </a:lnTo>
                <a:lnTo>
                  <a:pt x="1592" y="1403"/>
                </a:lnTo>
                <a:lnTo>
                  <a:pt x="1589" y="1401"/>
                </a:lnTo>
                <a:lnTo>
                  <a:pt x="1585" y="1399"/>
                </a:lnTo>
                <a:lnTo>
                  <a:pt x="1583" y="1396"/>
                </a:lnTo>
                <a:lnTo>
                  <a:pt x="1580" y="1387"/>
                </a:lnTo>
                <a:lnTo>
                  <a:pt x="1578" y="1376"/>
                </a:lnTo>
                <a:lnTo>
                  <a:pt x="1582" y="1360"/>
                </a:lnTo>
                <a:lnTo>
                  <a:pt x="1585" y="1345"/>
                </a:lnTo>
                <a:lnTo>
                  <a:pt x="1594" y="1333"/>
                </a:lnTo>
                <a:lnTo>
                  <a:pt x="1604" y="1323"/>
                </a:lnTo>
                <a:lnTo>
                  <a:pt x="1609" y="1318"/>
                </a:lnTo>
                <a:lnTo>
                  <a:pt x="1615" y="1315"/>
                </a:lnTo>
                <a:lnTo>
                  <a:pt x="1621" y="1312"/>
                </a:lnTo>
                <a:lnTo>
                  <a:pt x="1627" y="1308"/>
                </a:lnTo>
                <a:lnTo>
                  <a:pt x="1642" y="1305"/>
                </a:lnTo>
                <a:lnTo>
                  <a:pt x="1659" y="1303"/>
                </a:lnTo>
                <a:lnTo>
                  <a:pt x="1664" y="1301"/>
                </a:lnTo>
                <a:lnTo>
                  <a:pt x="1668" y="1298"/>
                </a:lnTo>
                <a:lnTo>
                  <a:pt x="1669" y="1293"/>
                </a:lnTo>
                <a:lnTo>
                  <a:pt x="1671" y="1290"/>
                </a:lnTo>
                <a:lnTo>
                  <a:pt x="1674" y="1278"/>
                </a:lnTo>
                <a:lnTo>
                  <a:pt x="1674" y="1264"/>
                </a:lnTo>
                <a:lnTo>
                  <a:pt x="1674" y="1253"/>
                </a:lnTo>
                <a:lnTo>
                  <a:pt x="1676" y="1241"/>
                </a:lnTo>
                <a:lnTo>
                  <a:pt x="1674" y="1217"/>
                </a:lnTo>
                <a:lnTo>
                  <a:pt x="1674" y="1192"/>
                </a:lnTo>
                <a:lnTo>
                  <a:pt x="1661" y="1180"/>
                </a:lnTo>
                <a:lnTo>
                  <a:pt x="1647" y="1165"/>
                </a:lnTo>
                <a:lnTo>
                  <a:pt x="1642" y="1158"/>
                </a:lnTo>
                <a:lnTo>
                  <a:pt x="1639" y="1152"/>
                </a:lnTo>
                <a:lnTo>
                  <a:pt x="1636" y="1145"/>
                </a:lnTo>
                <a:lnTo>
                  <a:pt x="1634" y="1136"/>
                </a:lnTo>
                <a:lnTo>
                  <a:pt x="1632" y="1128"/>
                </a:lnTo>
                <a:lnTo>
                  <a:pt x="1634" y="1121"/>
                </a:lnTo>
                <a:lnTo>
                  <a:pt x="1636" y="1113"/>
                </a:lnTo>
                <a:lnTo>
                  <a:pt x="1637" y="1103"/>
                </a:lnTo>
                <a:lnTo>
                  <a:pt x="1639" y="1091"/>
                </a:lnTo>
                <a:lnTo>
                  <a:pt x="1639" y="1079"/>
                </a:lnTo>
                <a:lnTo>
                  <a:pt x="1637" y="1067"/>
                </a:lnTo>
                <a:lnTo>
                  <a:pt x="1636" y="1056"/>
                </a:lnTo>
                <a:lnTo>
                  <a:pt x="1629" y="1054"/>
                </a:lnTo>
                <a:lnTo>
                  <a:pt x="1622" y="1052"/>
                </a:lnTo>
                <a:lnTo>
                  <a:pt x="1612" y="1067"/>
                </a:lnTo>
                <a:lnTo>
                  <a:pt x="1602" y="1081"/>
                </a:lnTo>
                <a:lnTo>
                  <a:pt x="1594" y="1081"/>
                </a:lnTo>
                <a:lnTo>
                  <a:pt x="1585" y="1083"/>
                </a:lnTo>
                <a:lnTo>
                  <a:pt x="1580" y="1084"/>
                </a:lnTo>
                <a:lnTo>
                  <a:pt x="1575" y="1086"/>
                </a:lnTo>
                <a:lnTo>
                  <a:pt x="1572" y="1091"/>
                </a:lnTo>
                <a:lnTo>
                  <a:pt x="1568" y="1094"/>
                </a:lnTo>
                <a:lnTo>
                  <a:pt x="1565" y="1108"/>
                </a:lnTo>
                <a:lnTo>
                  <a:pt x="1563" y="1123"/>
                </a:lnTo>
                <a:lnTo>
                  <a:pt x="1552" y="1135"/>
                </a:lnTo>
                <a:lnTo>
                  <a:pt x="1541" y="1148"/>
                </a:lnTo>
                <a:lnTo>
                  <a:pt x="1538" y="1136"/>
                </a:lnTo>
                <a:lnTo>
                  <a:pt x="1535" y="1125"/>
                </a:lnTo>
                <a:lnTo>
                  <a:pt x="1526" y="1115"/>
                </a:lnTo>
                <a:lnTo>
                  <a:pt x="1520" y="1108"/>
                </a:lnTo>
                <a:lnTo>
                  <a:pt x="1514" y="1106"/>
                </a:lnTo>
                <a:lnTo>
                  <a:pt x="1511" y="1104"/>
                </a:lnTo>
                <a:lnTo>
                  <a:pt x="1506" y="1106"/>
                </a:lnTo>
                <a:lnTo>
                  <a:pt x="1503" y="1108"/>
                </a:lnTo>
                <a:lnTo>
                  <a:pt x="1498" y="1120"/>
                </a:lnTo>
                <a:lnTo>
                  <a:pt x="1493" y="1131"/>
                </a:lnTo>
                <a:lnTo>
                  <a:pt x="1483" y="1133"/>
                </a:lnTo>
                <a:lnTo>
                  <a:pt x="1474" y="1135"/>
                </a:lnTo>
                <a:lnTo>
                  <a:pt x="1471" y="1133"/>
                </a:lnTo>
                <a:lnTo>
                  <a:pt x="1467" y="1130"/>
                </a:lnTo>
                <a:lnTo>
                  <a:pt x="1481" y="1116"/>
                </a:lnTo>
                <a:lnTo>
                  <a:pt x="1496" y="1103"/>
                </a:lnTo>
                <a:lnTo>
                  <a:pt x="1491" y="1101"/>
                </a:lnTo>
                <a:lnTo>
                  <a:pt x="1486" y="1098"/>
                </a:lnTo>
                <a:lnTo>
                  <a:pt x="1481" y="1093"/>
                </a:lnTo>
                <a:lnTo>
                  <a:pt x="1476" y="1086"/>
                </a:lnTo>
                <a:lnTo>
                  <a:pt x="1467" y="1071"/>
                </a:lnTo>
                <a:lnTo>
                  <a:pt x="1459" y="1049"/>
                </a:lnTo>
                <a:lnTo>
                  <a:pt x="1442" y="1047"/>
                </a:lnTo>
                <a:lnTo>
                  <a:pt x="1424" y="1047"/>
                </a:lnTo>
                <a:lnTo>
                  <a:pt x="1425" y="1040"/>
                </a:lnTo>
                <a:lnTo>
                  <a:pt x="1427" y="1034"/>
                </a:lnTo>
                <a:lnTo>
                  <a:pt x="1429" y="1030"/>
                </a:lnTo>
                <a:lnTo>
                  <a:pt x="1432" y="1030"/>
                </a:lnTo>
                <a:lnTo>
                  <a:pt x="1435" y="1030"/>
                </a:lnTo>
                <a:lnTo>
                  <a:pt x="1442" y="1034"/>
                </a:lnTo>
                <a:lnTo>
                  <a:pt x="1466" y="1042"/>
                </a:lnTo>
                <a:lnTo>
                  <a:pt x="1489" y="1051"/>
                </a:lnTo>
                <a:lnTo>
                  <a:pt x="1498" y="1056"/>
                </a:lnTo>
                <a:lnTo>
                  <a:pt x="1508" y="1061"/>
                </a:lnTo>
                <a:lnTo>
                  <a:pt x="1511" y="1052"/>
                </a:lnTo>
                <a:lnTo>
                  <a:pt x="1516" y="1046"/>
                </a:lnTo>
                <a:lnTo>
                  <a:pt x="1538" y="1047"/>
                </a:lnTo>
                <a:lnTo>
                  <a:pt x="1558" y="1049"/>
                </a:lnTo>
                <a:lnTo>
                  <a:pt x="1565" y="1054"/>
                </a:lnTo>
                <a:lnTo>
                  <a:pt x="1572" y="1059"/>
                </a:lnTo>
                <a:lnTo>
                  <a:pt x="1578" y="1061"/>
                </a:lnTo>
                <a:lnTo>
                  <a:pt x="1585" y="1062"/>
                </a:lnTo>
                <a:lnTo>
                  <a:pt x="1590" y="1040"/>
                </a:lnTo>
                <a:lnTo>
                  <a:pt x="1597" y="1019"/>
                </a:lnTo>
                <a:lnTo>
                  <a:pt x="1592" y="1015"/>
                </a:lnTo>
                <a:lnTo>
                  <a:pt x="1589" y="1012"/>
                </a:lnTo>
                <a:lnTo>
                  <a:pt x="1585" y="1008"/>
                </a:lnTo>
                <a:lnTo>
                  <a:pt x="1582" y="1007"/>
                </a:lnTo>
                <a:lnTo>
                  <a:pt x="1577" y="1005"/>
                </a:lnTo>
                <a:lnTo>
                  <a:pt x="1572" y="1003"/>
                </a:lnTo>
                <a:lnTo>
                  <a:pt x="1565" y="1000"/>
                </a:lnTo>
                <a:lnTo>
                  <a:pt x="1560" y="997"/>
                </a:lnTo>
                <a:lnTo>
                  <a:pt x="1557" y="992"/>
                </a:lnTo>
                <a:lnTo>
                  <a:pt x="1553" y="985"/>
                </a:lnTo>
                <a:lnTo>
                  <a:pt x="1545" y="985"/>
                </a:lnTo>
                <a:lnTo>
                  <a:pt x="1538" y="985"/>
                </a:lnTo>
                <a:lnTo>
                  <a:pt x="1528" y="992"/>
                </a:lnTo>
                <a:lnTo>
                  <a:pt x="1520" y="1000"/>
                </a:lnTo>
                <a:lnTo>
                  <a:pt x="1514" y="1003"/>
                </a:lnTo>
                <a:lnTo>
                  <a:pt x="1509" y="1007"/>
                </a:lnTo>
                <a:lnTo>
                  <a:pt x="1504" y="1007"/>
                </a:lnTo>
                <a:lnTo>
                  <a:pt x="1499" y="1007"/>
                </a:lnTo>
                <a:lnTo>
                  <a:pt x="1494" y="1003"/>
                </a:lnTo>
                <a:lnTo>
                  <a:pt x="1491" y="1002"/>
                </a:lnTo>
                <a:lnTo>
                  <a:pt x="1486" y="998"/>
                </a:lnTo>
                <a:lnTo>
                  <a:pt x="1483" y="995"/>
                </a:lnTo>
                <a:lnTo>
                  <a:pt x="1479" y="993"/>
                </a:lnTo>
                <a:lnTo>
                  <a:pt x="1476" y="990"/>
                </a:lnTo>
                <a:lnTo>
                  <a:pt x="1476" y="985"/>
                </a:lnTo>
                <a:lnTo>
                  <a:pt x="1476" y="982"/>
                </a:lnTo>
                <a:lnTo>
                  <a:pt x="1481" y="983"/>
                </a:lnTo>
                <a:lnTo>
                  <a:pt x="1486" y="987"/>
                </a:lnTo>
                <a:lnTo>
                  <a:pt x="1491" y="990"/>
                </a:lnTo>
                <a:lnTo>
                  <a:pt x="1496" y="993"/>
                </a:lnTo>
                <a:lnTo>
                  <a:pt x="1499" y="995"/>
                </a:lnTo>
                <a:lnTo>
                  <a:pt x="1504" y="997"/>
                </a:lnTo>
                <a:lnTo>
                  <a:pt x="1508" y="997"/>
                </a:lnTo>
                <a:lnTo>
                  <a:pt x="1511" y="995"/>
                </a:lnTo>
                <a:lnTo>
                  <a:pt x="1523" y="985"/>
                </a:lnTo>
                <a:lnTo>
                  <a:pt x="1535" y="975"/>
                </a:lnTo>
                <a:lnTo>
                  <a:pt x="1541" y="975"/>
                </a:lnTo>
                <a:lnTo>
                  <a:pt x="1548" y="975"/>
                </a:lnTo>
                <a:lnTo>
                  <a:pt x="1557" y="976"/>
                </a:lnTo>
                <a:lnTo>
                  <a:pt x="1565" y="978"/>
                </a:lnTo>
                <a:lnTo>
                  <a:pt x="1573" y="978"/>
                </a:lnTo>
                <a:lnTo>
                  <a:pt x="1582" y="980"/>
                </a:lnTo>
                <a:lnTo>
                  <a:pt x="1585" y="985"/>
                </a:lnTo>
                <a:lnTo>
                  <a:pt x="1590" y="990"/>
                </a:lnTo>
                <a:lnTo>
                  <a:pt x="1590" y="998"/>
                </a:lnTo>
                <a:lnTo>
                  <a:pt x="1590" y="1007"/>
                </a:lnTo>
                <a:lnTo>
                  <a:pt x="1595" y="1010"/>
                </a:lnTo>
                <a:lnTo>
                  <a:pt x="1599" y="1014"/>
                </a:lnTo>
                <a:lnTo>
                  <a:pt x="1612" y="1010"/>
                </a:lnTo>
                <a:lnTo>
                  <a:pt x="1626" y="1007"/>
                </a:lnTo>
                <a:lnTo>
                  <a:pt x="1629" y="1022"/>
                </a:lnTo>
                <a:lnTo>
                  <a:pt x="1632" y="1039"/>
                </a:lnTo>
                <a:lnTo>
                  <a:pt x="1641" y="1049"/>
                </a:lnTo>
                <a:lnTo>
                  <a:pt x="1647" y="1059"/>
                </a:lnTo>
                <a:lnTo>
                  <a:pt x="1651" y="1062"/>
                </a:lnTo>
                <a:lnTo>
                  <a:pt x="1654" y="1066"/>
                </a:lnTo>
                <a:lnTo>
                  <a:pt x="1658" y="1066"/>
                </a:lnTo>
                <a:lnTo>
                  <a:pt x="1661" y="1066"/>
                </a:lnTo>
                <a:lnTo>
                  <a:pt x="1661" y="1069"/>
                </a:lnTo>
                <a:lnTo>
                  <a:pt x="1661" y="1072"/>
                </a:lnTo>
                <a:lnTo>
                  <a:pt x="1661" y="1074"/>
                </a:lnTo>
                <a:lnTo>
                  <a:pt x="1663" y="1078"/>
                </a:lnTo>
                <a:lnTo>
                  <a:pt x="1669" y="1081"/>
                </a:lnTo>
                <a:lnTo>
                  <a:pt x="1678" y="1083"/>
                </a:lnTo>
                <a:lnTo>
                  <a:pt x="1681" y="1078"/>
                </a:lnTo>
                <a:lnTo>
                  <a:pt x="1684" y="1072"/>
                </a:lnTo>
                <a:lnTo>
                  <a:pt x="1695" y="1072"/>
                </a:lnTo>
                <a:lnTo>
                  <a:pt x="1703" y="1072"/>
                </a:lnTo>
                <a:lnTo>
                  <a:pt x="1706" y="1078"/>
                </a:lnTo>
                <a:lnTo>
                  <a:pt x="1710" y="1083"/>
                </a:lnTo>
                <a:lnTo>
                  <a:pt x="1716" y="1076"/>
                </a:lnTo>
                <a:lnTo>
                  <a:pt x="1722" y="1071"/>
                </a:lnTo>
                <a:lnTo>
                  <a:pt x="1733" y="1071"/>
                </a:lnTo>
                <a:lnTo>
                  <a:pt x="1745" y="1071"/>
                </a:lnTo>
                <a:lnTo>
                  <a:pt x="1750" y="1072"/>
                </a:lnTo>
                <a:lnTo>
                  <a:pt x="1754" y="1076"/>
                </a:lnTo>
                <a:lnTo>
                  <a:pt x="1777" y="1066"/>
                </a:lnTo>
                <a:lnTo>
                  <a:pt x="1801" y="1057"/>
                </a:lnTo>
                <a:lnTo>
                  <a:pt x="1806" y="1054"/>
                </a:lnTo>
                <a:lnTo>
                  <a:pt x="1809" y="1054"/>
                </a:lnTo>
                <a:lnTo>
                  <a:pt x="1812" y="1057"/>
                </a:lnTo>
                <a:lnTo>
                  <a:pt x="1812" y="1062"/>
                </a:lnTo>
                <a:lnTo>
                  <a:pt x="1804" y="1072"/>
                </a:lnTo>
                <a:lnTo>
                  <a:pt x="1796" y="1083"/>
                </a:lnTo>
                <a:lnTo>
                  <a:pt x="1787" y="1084"/>
                </a:lnTo>
                <a:lnTo>
                  <a:pt x="1779" y="1086"/>
                </a:lnTo>
                <a:lnTo>
                  <a:pt x="1780" y="1091"/>
                </a:lnTo>
                <a:lnTo>
                  <a:pt x="1780" y="1094"/>
                </a:lnTo>
                <a:lnTo>
                  <a:pt x="1785" y="1094"/>
                </a:lnTo>
                <a:lnTo>
                  <a:pt x="1791" y="1094"/>
                </a:lnTo>
                <a:lnTo>
                  <a:pt x="1796" y="1089"/>
                </a:lnTo>
                <a:lnTo>
                  <a:pt x="1801" y="1084"/>
                </a:lnTo>
                <a:lnTo>
                  <a:pt x="1816" y="1066"/>
                </a:lnTo>
                <a:lnTo>
                  <a:pt x="1833" y="1046"/>
                </a:lnTo>
                <a:lnTo>
                  <a:pt x="1844" y="1029"/>
                </a:lnTo>
                <a:lnTo>
                  <a:pt x="1856" y="1014"/>
                </a:lnTo>
                <a:lnTo>
                  <a:pt x="1863" y="1008"/>
                </a:lnTo>
                <a:lnTo>
                  <a:pt x="1871" y="1003"/>
                </a:lnTo>
                <a:lnTo>
                  <a:pt x="1878" y="1000"/>
                </a:lnTo>
                <a:lnTo>
                  <a:pt x="1886" y="1000"/>
                </a:lnTo>
                <a:lnTo>
                  <a:pt x="1892" y="998"/>
                </a:lnTo>
                <a:lnTo>
                  <a:pt x="1895" y="998"/>
                </a:lnTo>
                <a:lnTo>
                  <a:pt x="1898" y="995"/>
                </a:lnTo>
                <a:lnTo>
                  <a:pt x="1902" y="990"/>
                </a:lnTo>
                <a:lnTo>
                  <a:pt x="1908" y="980"/>
                </a:lnTo>
                <a:lnTo>
                  <a:pt x="1915" y="966"/>
                </a:lnTo>
                <a:lnTo>
                  <a:pt x="1922" y="950"/>
                </a:lnTo>
                <a:lnTo>
                  <a:pt x="1927" y="938"/>
                </a:lnTo>
                <a:lnTo>
                  <a:pt x="1918" y="933"/>
                </a:lnTo>
                <a:lnTo>
                  <a:pt x="1903" y="923"/>
                </a:lnTo>
                <a:lnTo>
                  <a:pt x="1897" y="916"/>
                </a:lnTo>
                <a:lnTo>
                  <a:pt x="1888" y="911"/>
                </a:lnTo>
                <a:lnTo>
                  <a:pt x="1881" y="907"/>
                </a:lnTo>
                <a:lnTo>
                  <a:pt x="1875" y="906"/>
                </a:lnTo>
                <a:lnTo>
                  <a:pt x="1870" y="906"/>
                </a:lnTo>
                <a:lnTo>
                  <a:pt x="1865" y="906"/>
                </a:lnTo>
                <a:lnTo>
                  <a:pt x="1858" y="906"/>
                </a:lnTo>
                <a:lnTo>
                  <a:pt x="1853" y="907"/>
                </a:lnTo>
                <a:lnTo>
                  <a:pt x="1848" y="911"/>
                </a:lnTo>
                <a:lnTo>
                  <a:pt x="1843" y="912"/>
                </a:lnTo>
                <a:lnTo>
                  <a:pt x="1838" y="914"/>
                </a:lnTo>
                <a:lnTo>
                  <a:pt x="1833" y="912"/>
                </a:lnTo>
                <a:lnTo>
                  <a:pt x="1829" y="912"/>
                </a:lnTo>
                <a:lnTo>
                  <a:pt x="1824" y="909"/>
                </a:lnTo>
                <a:lnTo>
                  <a:pt x="1821" y="906"/>
                </a:lnTo>
                <a:lnTo>
                  <a:pt x="1816" y="902"/>
                </a:lnTo>
                <a:lnTo>
                  <a:pt x="1804" y="891"/>
                </a:lnTo>
                <a:lnTo>
                  <a:pt x="1794" y="880"/>
                </a:lnTo>
                <a:lnTo>
                  <a:pt x="1789" y="877"/>
                </a:lnTo>
                <a:lnTo>
                  <a:pt x="1785" y="874"/>
                </a:lnTo>
                <a:lnTo>
                  <a:pt x="1782" y="872"/>
                </a:lnTo>
                <a:lnTo>
                  <a:pt x="1779" y="872"/>
                </a:lnTo>
                <a:lnTo>
                  <a:pt x="1775" y="872"/>
                </a:lnTo>
                <a:lnTo>
                  <a:pt x="1772" y="874"/>
                </a:lnTo>
                <a:lnTo>
                  <a:pt x="1769" y="877"/>
                </a:lnTo>
                <a:lnTo>
                  <a:pt x="1765" y="880"/>
                </a:lnTo>
                <a:lnTo>
                  <a:pt x="1759" y="892"/>
                </a:lnTo>
                <a:lnTo>
                  <a:pt x="1752" y="904"/>
                </a:lnTo>
                <a:lnTo>
                  <a:pt x="1745" y="911"/>
                </a:lnTo>
                <a:lnTo>
                  <a:pt x="1738" y="914"/>
                </a:lnTo>
                <a:lnTo>
                  <a:pt x="1735" y="912"/>
                </a:lnTo>
                <a:lnTo>
                  <a:pt x="1732" y="911"/>
                </a:lnTo>
                <a:lnTo>
                  <a:pt x="1728" y="907"/>
                </a:lnTo>
                <a:lnTo>
                  <a:pt x="1727" y="902"/>
                </a:lnTo>
                <a:lnTo>
                  <a:pt x="1720" y="899"/>
                </a:lnTo>
                <a:lnTo>
                  <a:pt x="1711" y="896"/>
                </a:lnTo>
                <a:lnTo>
                  <a:pt x="1705" y="894"/>
                </a:lnTo>
                <a:lnTo>
                  <a:pt x="1696" y="892"/>
                </a:lnTo>
                <a:lnTo>
                  <a:pt x="1678" y="892"/>
                </a:lnTo>
                <a:lnTo>
                  <a:pt x="1659" y="894"/>
                </a:lnTo>
                <a:lnTo>
                  <a:pt x="1658" y="877"/>
                </a:lnTo>
                <a:lnTo>
                  <a:pt x="1658" y="862"/>
                </a:lnTo>
                <a:lnTo>
                  <a:pt x="1659" y="848"/>
                </a:lnTo>
                <a:lnTo>
                  <a:pt x="1661" y="837"/>
                </a:lnTo>
                <a:lnTo>
                  <a:pt x="1664" y="825"/>
                </a:lnTo>
                <a:lnTo>
                  <a:pt x="1668" y="816"/>
                </a:lnTo>
                <a:lnTo>
                  <a:pt x="1673" y="808"/>
                </a:lnTo>
                <a:lnTo>
                  <a:pt x="1678" y="801"/>
                </a:lnTo>
                <a:lnTo>
                  <a:pt x="1688" y="776"/>
                </a:lnTo>
                <a:lnTo>
                  <a:pt x="1696" y="756"/>
                </a:lnTo>
                <a:lnTo>
                  <a:pt x="1706" y="739"/>
                </a:lnTo>
                <a:lnTo>
                  <a:pt x="1715" y="727"/>
                </a:lnTo>
                <a:lnTo>
                  <a:pt x="1728" y="707"/>
                </a:lnTo>
                <a:lnTo>
                  <a:pt x="1740" y="687"/>
                </a:lnTo>
                <a:lnTo>
                  <a:pt x="1750" y="665"/>
                </a:lnTo>
                <a:lnTo>
                  <a:pt x="1759" y="640"/>
                </a:lnTo>
                <a:lnTo>
                  <a:pt x="1764" y="635"/>
                </a:lnTo>
                <a:lnTo>
                  <a:pt x="1765" y="628"/>
                </a:lnTo>
                <a:lnTo>
                  <a:pt x="1764" y="623"/>
                </a:lnTo>
                <a:lnTo>
                  <a:pt x="1762" y="616"/>
                </a:lnTo>
                <a:lnTo>
                  <a:pt x="1757" y="609"/>
                </a:lnTo>
                <a:lnTo>
                  <a:pt x="1750" y="603"/>
                </a:lnTo>
                <a:lnTo>
                  <a:pt x="1743" y="596"/>
                </a:lnTo>
                <a:lnTo>
                  <a:pt x="1733" y="589"/>
                </a:lnTo>
                <a:lnTo>
                  <a:pt x="1723" y="579"/>
                </a:lnTo>
                <a:lnTo>
                  <a:pt x="1716" y="569"/>
                </a:lnTo>
                <a:lnTo>
                  <a:pt x="1711" y="559"/>
                </a:lnTo>
                <a:lnTo>
                  <a:pt x="1710" y="549"/>
                </a:lnTo>
                <a:lnTo>
                  <a:pt x="1705" y="540"/>
                </a:lnTo>
                <a:lnTo>
                  <a:pt x="1701" y="534"/>
                </a:lnTo>
                <a:lnTo>
                  <a:pt x="1698" y="527"/>
                </a:lnTo>
                <a:lnTo>
                  <a:pt x="1696" y="518"/>
                </a:lnTo>
                <a:lnTo>
                  <a:pt x="1696" y="505"/>
                </a:lnTo>
                <a:lnTo>
                  <a:pt x="1698" y="490"/>
                </a:lnTo>
                <a:lnTo>
                  <a:pt x="1696" y="471"/>
                </a:lnTo>
                <a:lnTo>
                  <a:pt x="1693" y="453"/>
                </a:lnTo>
                <a:lnTo>
                  <a:pt x="1690" y="446"/>
                </a:lnTo>
                <a:lnTo>
                  <a:pt x="1688" y="441"/>
                </a:lnTo>
                <a:lnTo>
                  <a:pt x="1684" y="438"/>
                </a:lnTo>
                <a:lnTo>
                  <a:pt x="1681" y="436"/>
                </a:lnTo>
                <a:lnTo>
                  <a:pt x="1678" y="436"/>
                </a:lnTo>
                <a:lnTo>
                  <a:pt x="1674" y="438"/>
                </a:lnTo>
                <a:lnTo>
                  <a:pt x="1669" y="441"/>
                </a:lnTo>
                <a:lnTo>
                  <a:pt x="1666" y="446"/>
                </a:lnTo>
                <a:lnTo>
                  <a:pt x="1658" y="456"/>
                </a:lnTo>
                <a:lnTo>
                  <a:pt x="1651" y="468"/>
                </a:lnTo>
                <a:lnTo>
                  <a:pt x="1644" y="473"/>
                </a:lnTo>
                <a:lnTo>
                  <a:pt x="1639" y="476"/>
                </a:lnTo>
                <a:lnTo>
                  <a:pt x="1634" y="476"/>
                </a:lnTo>
                <a:lnTo>
                  <a:pt x="1631" y="475"/>
                </a:lnTo>
                <a:lnTo>
                  <a:pt x="1631" y="470"/>
                </a:lnTo>
                <a:lnTo>
                  <a:pt x="1631" y="463"/>
                </a:lnTo>
                <a:lnTo>
                  <a:pt x="1632" y="454"/>
                </a:lnTo>
                <a:lnTo>
                  <a:pt x="1634" y="443"/>
                </a:lnTo>
                <a:lnTo>
                  <a:pt x="1637" y="436"/>
                </a:lnTo>
                <a:lnTo>
                  <a:pt x="1637" y="429"/>
                </a:lnTo>
                <a:lnTo>
                  <a:pt x="1636" y="422"/>
                </a:lnTo>
                <a:lnTo>
                  <a:pt x="1634" y="416"/>
                </a:lnTo>
                <a:lnTo>
                  <a:pt x="1631" y="411"/>
                </a:lnTo>
                <a:lnTo>
                  <a:pt x="1626" y="404"/>
                </a:lnTo>
                <a:lnTo>
                  <a:pt x="1619" y="399"/>
                </a:lnTo>
                <a:lnTo>
                  <a:pt x="1612" y="394"/>
                </a:lnTo>
                <a:lnTo>
                  <a:pt x="1605" y="387"/>
                </a:lnTo>
                <a:lnTo>
                  <a:pt x="1599" y="384"/>
                </a:lnTo>
                <a:lnTo>
                  <a:pt x="1592" y="382"/>
                </a:lnTo>
                <a:lnTo>
                  <a:pt x="1587" y="382"/>
                </a:lnTo>
                <a:lnTo>
                  <a:pt x="1582" y="384"/>
                </a:lnTo>
                <a:lnTo>
                  <a:pt x="1578" y="387"/>
                </a:lnTo>
                <a:lnTo>
                  <a:pt x="1573" y="390"/>
                </a:lnTo>
                <a:lnTo>
                  <a:pt x="1570" y="395"/>
                </a:lnTo>
                <a:lnTo>
                  <a:pt x="1565" y="402"/>
                </a:lnTo>
                <a:lnTo>
                  <a:pt x="1557" y="407"/>
                </a:lnTo>
                <a:lnTo>
                  <a:pt x="1548" y="411"/>
                </a:lnTo>
                <a:lnTo>
                  <a:pt x="1536" y="414"/>
                </a:lnTo>
                <a:lnTo>
                  <a:pt x="1526" y="416"/>
                </a:lnTo>
                <a:lnTo>
                  <a:pt x="1518" y="416"/>
                </a:lnTo>
                <a:lnTo>
                  <a:pt x="1509" y="416"/>
                </a:lnTo>
                <a:lnTo>
                  <a:pt x="1501" y="412"/>
                </a:lnTo>
                <a:lnTo>
                  <a:pt x="1493" y="409"/>
                </a:lnTo>
                <a:lnTo>
                  <a:pt x="1484" y="404"/>
                </a:lnTo>
                <a:lnTo>
                  <a:pt x="1476" y="397"/>
                </a:lnTo>
                <a:lnTo>
                  <a:pt x="1467" y="390"/>
                </a:lnTo>
                <a:lnTo>
                  <a:pt x="1464" y="385"/>
                </a:lnTo>
                <a:lnTo>
                  <a:pt x="1459" y="382"/>
                </a:lnTo>
                <a:lnTo>
                  <a:pt x="1454" y="380"/>
                </a:lnTo>
                <a:lnTo>
                  <a:pt x="1445" y="380"/>
                </a:lnTo>
                <a:lnTo>
                  <a:pt x="1439" y="380"/>
                </a:lnTo>
                <a:lnTo>
                  <a:pt x="1434" y="380"/>
                </a:lnTo>
                <a:lnTo>
                  <a:pt x="1430" y="380"/>
                </a:lnTo>
                <a:lnTo>
                  <a:pt x="1427" y="379"/>
                </a:lnTo>
                <a:lnTo>
                  <a:pt x="1424" y="375"/>
                </a:lnTo>
                <a:lnTo>
                  <a:pt x="1422" y="372"/>
                </a:lnTo>
                <a:lnTo>
                  <a:pt x="1420" y="367"/>
                </a:lnTo>
                <a:lnTo>
                  <a:pt x="1420" y="362"/>
                </a:lnTo>
                <a:lnTo>
                  <a:pt x="1420" y="357"/>
                </a:lnTo>
                <a:lnTo>
                  <a:pt x="1420" y="352"/>
                </a:lnTo>
                <a:lnTo>
                  <a:pt x="1419" y="348"/>
                </a:lnTo>
                <a:lnTo>
                  <a:pt x="1417" y="345"/>
                </a:lnTo>
                <a:lnTo>
                  <a:pt x="1412" y="342"/>
                </a:lnTo>
                <a:lnTo>
                  <a:pt x="1403" y="338"/>
                </a:lnTo>
                <a:lnTo>
                  <a:pt x="1398" y="338"/>
                </a:lnTo>
                <a:lnTo>
                  <a:pt x="1392" y="337"/>
                </a:lnTo>
                <a:lnTo>
                  <a:pt x="1387" y="335"/>
                </a:lnTo>
                <a:lnTo>
                  <a:pt x="1382" y="330"/>
                </a:lnTo>
                <a:lnTo>
                  <a:pt x="1378" y="325"/>
                </a:lnTo>
                <a:lnTo>
                  <a:pt x="1375" y="318"/>
                </a:lnTo>
                <a:lnTo>
                  <a:pt x="1373" y="310"/>
                </a:lnTo>
                <a:lnTo>
                  <a:pt x="1371" y="299"/>
                </a:lnTo>
                <a:lnTo>
                  <a:pt x="1371" y="289"/>
                </a:lnTo>
                <a:lnTo>
                  <a:pt x="1371" y="279"/>
                </a:lnTo>
                <a:lnTo>
                  <a:pt x="1368" y="271"/>
                </a:lnTo>
                <a:lnTo>
                  <a:pt x="1365" y="259"/>
                </a:lnTo>
                <a:lnTo>
                  <a:pt x="1358" y="254"/>
                </a:lnTo>
                <a:lnTo>
                  <a:pt x="1355" y="251"/>
                </a:lnTo>
                <a:lnTo>
                  <a:pt x="1355" y="246"/>
                </a:lnTo>
                <a:lnTo>
                  <a:pt x="1356" y="242"/>
                </a:lnTo>
                <a:lnTo>
                  <a:pt x="1351" y="239"/>
                </a:lnTo>
                <a:lnTo>
                  <a:pt x="1348" y="237"/>
                </a:lnTo>
                <a:lnTo>
                  <a:pt x="1343" y="237"/>
                </a:lnTo>
                <a:lnTo>
                  <a:pt x="1339" y="239"/>
                </a:lnTo>
                <a:lnTo>
                  <a:pt x="1334" y="246"/>
                </a:lnTo>
                <a:lnTo>
                  <a:pt x="1329" y="252"/>
                </a:lnTo>
                <a:lnTo>
                  <a:pt x="1326" y="256"/>
                </a:lnTo>
                <a:lnTo>
                  <a:pt x="1321" y="257"/>
                </a:lnTo>
                <a:lnTo>
                  <a:pt x="1318" y="259"/>
                </a:lnTo>
                <a:lnTo>
                  <a:pt x="1314" y="257"/>
                </a:lnTo>
                <a:lnTo>
                  <a:pt x="1312" y="254"/>
                </a:lnTo>
                <a:lnTo>
                  <a:pt x="1311" y="251"/>
                </a:lnTo>
                <a:lnTo>
                  <a:pt x="1311" y="246"/>
                </a:lnTo>
                <a:lnTo>
                  <a:pt x="1314" y="239"/>
                </a:lnTo>
                <a:lnTo>
                  <a:pt x="1314" y="234"/>
                </a:lnTo>
                <a:lnTo>
                  <a:pt x="1314" y="227"/>
                </a:lnTo>
              </a:path>
            </a:pathLst>
          </a:custGeom>
          <a:solidFill>
            <a:srgbClr val="CCECFF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065" name="Text Box 22"/>
          <p:cNvSpPr txBox="1">
            <a:spLocks noChangeAspect="1" noChangeArrowheads="1"/>
          </p:cNvSpPr>
          <p:nvPr>
            <p:custDataLst>
              <p:tags r:id="rId16"/>
            </p:custDataLst>
          </p:nvPr>
        </p:nvSpPr>
        <p:spPr bwMode="auto">
          <a:xfrm>
            <a:off x="3965575" y="3148013"/>
            <a:ext cx="280988" cy="123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Купол</a:t>
            </a:r>
          </a:p>
        </p:txBody>
      </p:sp>
      <p:sp>
        <p:nvSpPr>
          <p:cNvPr id="2066" name="Freeform 23"/>
          <p:cNvSpPr>
            <a:spLocks noChangeAspect="1"/>
          </p:cNvSpPr>
          <p:nvPr>
            <p:custDataLst>
              <p:tags r:id="rId17"/>
            </p:custDataLst>
          </p:nvPr>
        </p:nvSpPr>
        <p:spPr bwMode="auto">
          <a:xfrm>
            <a:off x="4427538" y="4076700"/>
            <a:ext cx="1890712" cy="1439863"/>
          </a:xfrm>
          <a:custGeom>
            <a:avLst/>
            <a:gdLst>
              <a:gd name="T0" fmla="*/ 2147483647 w 1192"/>
              <a:gd name="T1" fmla="*/ 2147483647 h 902"/>
              <a:gd name="T2" fmla="*/ 2147483647 w 1192"/>
              <a:gd name="T3" fmla="*/ 2147483647 h 902"/>
              <a:gd name="T4" fmla="*/ 2147483647 w 1192"/>
              <a:gd name="T5" fmla="*/ 2147483647 h 902"/>
              <a:gd name="T6" fmla="*/ 2147483647 w 1192"/>
              <a:gd name="T7" fmla="*/ 2147483647 h 902"/>
              <a:gd name="T8" fmla="*/ 2147483647 w 1192"/>
              <a:gd name="T9" fmla="*/ 2147483647 h 902"/>
              <a:gd name="T10" fmla="*/ 2147483647 w 1192"/>
              <a:gd name="T11" fmla="*/ 2147483647 h 902"/>
              <a:gd name="T12" fmla="*/ 2147483647 w 1192"/>
              <a:gd name="T13" fmla="*/ 2147483647 h 902"/>
              <a:gd name="T14" fmla="*/ 2147483647 w 1192"/>
              <a:gd name="T15" fmla="*/ 2147483647 h 902"/>
              <a:gd name="T16" fmla="*/ 2147483647 w 1192"/>
              <a:gd name="T17" fmla="*/ 2147483647 h 902"/>
              <a:gd name="T18" fmla="*/ 2147483647 w 1192"/>
              <a:gd name="T19" fmla="*/ 2147483647 h 902"/>
              <a:gd name="T20" fmla="*/ 2147483647 w 1192"/>
              <a:gd name="T21" fmla="*/ 2147483647 h 902"/>
              <a:gd name="T22" fmla="*/ 2147483647 w 1192"/>
              <a:gd name="T23" fmla="*/ 2147483647 h 902"/>
              <a:gd name="T24" fmla="*/ 2147483647 w 1192"/>
              <a:gd name="T25" fmla="*/ 2147483647 h 902"/>
              <a:gd name="T26" fmla="*/ 2147483647 w 1192"/>
              <a:gd name="T27" fmla="*/ 2147483647 h 902"/>
              <a:gd name="T28" fmla="*/ 2147483647 w 1192"/>
              <a:gd name="T29" fmla="*/ 2147483647 h 902"/>
              <a:gd name="T30" fmla="*/ 2147483647 w 1192"/>
              <a:gd name="T31" fmla="*/ 2147483647 h 902"/>
              <a:gd name="T32" fmla="*/ 2147483647 w 1192"/>
              <a:gd name="T33" fmla="*/ 2147483647 h 902"/>
              <a:gd name="T34" fmla="*/ 2147483647 w 1192"/>
              <a:gd name="T35" fmla="*/ 2147483647 h 902"/>
              <a:gd name="T36" fmla="*/ 2147483647 w 1192"/>
              <a:gd name="T37" fmla="*/ 2147483647 h 902"/>
              <a:gd name="T38" fmla="*/ 2147483647 w 1192"/>
              <a:gd name="T39" fmla="*/ 2147483647 h 902"/>
              <a:gd name="T40" fmla="*/ 2147483647 w 1192"/>
              <a:gd name="T41" fmla="*/ 2147483647 h 902"/>
              <a:gd name="T42" fmla="*/ 2147483647 w 1192"/>
              <a:gd name="T43" fmla="*/ 2147483647 h 902"/>
              <a:gd name="T44" fmla="*/ 2147483647 w 1192"/>
              <a:gd name="T45" fmla="*/ 2147483647 h 902"/>
              <a:gd name="T46" fmla="*/ 2147483647 w 1192"/>
              <a:gd name="T47" fmla="*/ 2147483647 h 902"/>
              <a:gd name="T48" fmla="*/ 2147483647 w 1192"/>
              <a:gd name="T49" fmla="*/ 2147483647 h 902"/>
              <a:gd name="T50" fmla="*/ 2147483647 w 1192"/>
              <a:gd name="T51" fmla="*/ 2147483647 h 902"/>
              <a:gd name="T52" fmla="*/ 2147483647 w 1192"/>
              <a:gd name="T53" fmla="*/ 2147483647 h 902"/>
              <a:gd name="T54" fmla="*/ 2147483647 w 1192"/>
              <a:gd name="T55" fmla="*/ 2147483647 h 902"/>
              <a:gd name="T56" fmla="*/ 2147483647 w 1192"/>
              <a:gd name="T57" fmla="*/ 2147483647 h 902"/>
              <a:gd name="T58" fmla="*/ 2147483647 w 1192"/>
              <a:gd name="T59" fmla="*/ 2147483647 h 902"/>
              <a:gd name="T60" fmla="*/ 2147483647 w 1192"/>
              <a:gd name="T61" fmla="*/ 2147483647 h 902"/>
              <a:gd name="T62" fmla="*/ 2147483647 w 1192"/>
              <a:gd name="T63" fmla="*/ 2147483647 h 902"/>
              <a:gd name="T64" fmla="*/ 2147483647 w 1192"/>
              <a:gd name="T65" fmla="*/ 2147483647 h 902"/>
              <a:gd name="T66" fmla="*/ 2147483647 w 1192"/>
              <a:gd name="T67" fmla="*/ 2147483647 h 902"/>
              <a:gd name="T68" fmla="*/ 2147483647 w 1192"/>
              <a:gd name="T69" fmla="*/ 2147483647 h 902"/>
              <a:gd name="T70" fmla="*/ 2147483647 w 1192"/>
              <a:gd name="T71" fmla="*/ 2147483647 h 902"/>
              <a:gd name="T72" fmla="*/ 2147483647 w 1192"/>
              <a:gd name="T73" fmla="*/ 2147483647 h 902"/>
              <a:gd name="T74" fmla="*/ 2147483647 w 1192"/>
              <a:gd name="T75" fmla="*/ 2147483647 h 902"/>
              <a:gd name="T76" fmla="*/ 2147483647 w 1192"/>
              <a:gd name="T77" fmla="*/ 2147483647 h 902"/>
              <a:gd name="T78" fmla="*/ 2147483647 w 1192"/>
              <a:gd name="T79" fmla="*/ 2147483647 h 902"/>
              <a:gd name="T80" fmla="*/ 2147483647 w 1192"/>
              <a:gd name="T81" fmla="*/ 2147483647 h 902"/>
              <a:gd name="T82" fmla="*/ 2147483647 w 1192"/>
              <a:gd name="T83" fmla="*/ 2147483647 h 902"/>
              <a:gd name="T84" fmla="*/ 2147483647 w 1192"/>
              <a:gd name="T85" fmla="*/ 2147483647 h 902"/>
              <a:gd name="T86" fmla="*/ 2147483647 w 1192"/>
              <a:gd name="T87" fmla="*/ 2147483647 h 902"/>
              <a:gd name="T88" fmla="*/ 2147483647 w 1192"/>
              <a:gd name="T89" fmla="*/ 2147483647 h 902"/>
              <a:gd name="T90" fmla="*/ 2147483647 w 1192"/>
              <a:gd name="T91" fmla="*/ 2147483647 h 902"/>
              <a:gd name="T92" fmla="*/ 2147483647 w 1192"/>
              <a:gd name="T93" fmla="*/ 2147483647 h 902"/>
              <a:gd name="T94" fmla="*/ 2147483647 w 1192"/>
              <a:gd name="T95" fmla="*/ 2147483647 h 902"/>
              <a:gd name="T96" fmla="*/ 2147483647 w 1192"/>
              <a:gd name="T97" fmla="*/ 2147483647 h 902"/>
              <a:gd name="T98" fmla="*/ 2147483647 w 1192"/>
              <a:gd name="T99" fmla="*/ 2147483647 h 902"/>
              <a:gd name="T100" fmla="*/ 2147483647 w 1192"/>
              <a:gd name="T101" fmla="*/ 2147483647 h 902"/>
              <a:gd name="T102" fmla="*/ 2147483647 w 1192"/>
              <a:gd name="T103" fmla="*/ 2147483647 h 902"/>
              <a:gd name="T104" fmla="*/ 2147483647 w 1192"/>
              <a:gd name="T105" fmla="*/ 2147483647 h 902"/>
              <a:gd name="T106" fmla="*/ 2147483647 w 1192"/>
              <a:gd name="T107" fmla="*/ 2147483647 h 902"/>
              <a:gd name="T108" fmla="*/ 2147483647 w 1192"/>
              <a:gd name="T109" fmla="*/ 2147483647 h 902"/>
              <a:gd name="T110" fmla="*/ 2147483647 w 1192"/>
              <a:gd name="T111" fmla="*/ 2147483647 h 902"/>
              <a:gd name="T112" fmla="*/ 2147483647 w 1192"/>
              <a:gd name="T113" fmla="*/ 2147483647 h 902"/>
              <a:gd name="T114" fmla="*/ 2147483647 w 1192"/>
              <a:gd name="T115" fmla="*/ 2147483647 h 902"/>
              <a:gd name="T116" fmla="*/ 2147483647 w 1192"/>
              <a:gd name="T117" fmla="*/ 2147483647 h 902"/>
              <a:gd name="T118" fmla="*/ 2147483647 w 1192"/>
              <a:gd name="T119" fmla="*/ 2147483647 h 902"/>
              <a:gd name="T120" fmla="*/ 2147483647 w 1192"/>
              <a:gd name="T121" fmla="*/ 2147483647 h 902"/>
              <a:gd name="T122" fmla="*/ 2147483647 w 1192"/>
              <a:gd name="T123" fmla="*/ 2147483647 h 902"/>
              <a:gd name="T124" fmla="*/ 2147483647 w 1192"/>
              <a:gd name="T125" fmla="*/ 2147483647 h 90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192"/>
              <a:gd name="T190" fmla="*/ 0 h 902"/>
              <a:gd name="T191" fmla="*/ 1192 w 1192"/>
              <a:gd name="T192" fmla="*/ 902 h 90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192" h="902">
                <a:moveTo>
                  <a:pt x="816" y="45"/>
                </a:moveTo>
                <a:lnTo>
                  <a:pt x="826" y="53"/>
                </a:lnTo>
                <a:lnTo>
                  <a:pt x="837" y="60"/>
                </a:lnTo>
                <a:lnTo>
                  <a:pt x="847" y="65"/>
                </a:lnTo>
                <a:lnTo>
                  <a:pt x="857" y="69"/>
                </a:lnTo>
                <a:lnTo>
                  <a:pt x="867" y="72"/>
                </a:lnTo>
                <a:lnTo>
                  <a:pt x="879" y="74"/>
                </a:lnTo>
                <a:lnTo>
                  <a:pt x="890" y="75"/>
                </a:lnTo>
                <a:lnTo>
                  <a:pt x="902" y="74"/>
                </a:lnTo>
                <a:lnTo>
                  <a:pt x="896" y="67"/>
                </a:lnTo>
                <a:lnTo>
                  <a:pt x="889" y="60"/>
                </a:lnTo>
                <a:lnTo>
                  <a:pt x="896" y="55"/>
                </a:lnTo>
                <a:lnTo>
                  <a:pt x="899" y="48"/>
                </a:lnTo>
                <a:lnTo>
                  <a:pt x="902" y="42"/>
                </a:lnTo>
                <a:lnTo>
                  <a:pt x="904" y="35"/>
                </a:lnTo>
                <a:lnTo>
                  <a:pt x="904" y="26"/>
                </a:lnTo>
                <a:lnTo>
                  <a:pt x="902" y="18"/>
                </a:lnTo>
                <a:lnTo>
                  <a:pt x="899" y="10"/>
                </a:lnTo>
                <a:lnTo>
                  <a:pt x="894" y="0"/>
                </a:lnTo>
                <a:lnTo>
                  <a:pt x="912" y="25"/>
                </a:lnTo>
                <a:lnTo>
                  <a:pt x="931" y="48"/>
                </a:lnTo>
                <a:lnTo>
                  <a:pt x="941" y="64"/>
                </a:lnTo>
                <a:lnTo>
                  <a:pt x="949" y="79"/>
                </a:lnTo>
                <a:lnTo>
                  <a:pt x="959" y="94"/>
                </a:lnTo>
                <a:lnTo>
                  <a:pt x="970" y="109"/>
                </a:lnTo>
                <a:lnTo>
                  <a:pt x="968" y="112"/>
                </a:lnTo>
                <a:lnTo>
                  <a:pt x="965" y="116"/>
                </a:lnTo>
                <a:lnTo>
                  <a:pt x="959" y="112"/>
                </a:lnTo>
                <a:lnTo>
                  <a:pt x="954" y="107"/>
                </a:lnTo>
                <a:lnTo>
                  <a:pt x="951" y="111"/>
                </a:lnTo>
                <a:lnTo>
                  <a:pt x="946" y="112"/>
                </a:lnTo>
                <a:lnTo>
                  <a:pt x="939" y="112"/>
                </a:lnTo>
                <a:lnTo>
                  <a:pt x="933" y="112"/>
                </a:lnTo>
                <a:lnTo>
                  <a:pt x="927" y="124"/>
                </a:lnTo>
                <a:lnTo>
                  <a:pt x="924" y="134"/>
                </a:lnTo>
                <a:lnTo>
                  <a:pt x="931" y="134"/>
                </a:lnTo>
                <a:lnTo>
                  <a:pt x="938" y="133"/>
                </a:lnTo>
                <a:lnTo>
                  <a:pt x="939" y="128"/>
                </a:lnTo>
                <a:lnTo>
                  <a:pt x="941" y="122"/>
                </a:lnTo>
                <a:lnTo>
                  <a:pt x="943" y="121"/>
                </a:lnTo>
                <a:lnTo>
                  <a:pt x="946" y="121"/>
                </a:lnTo>
                <a:lnTo>
                  <a:pt x="946" y="126"/>
                </a:lnTo>
                <a:lnTo>
                  <a:pt x="946" y="131"/>
                </a:lnTo>
                <a:lnTo>
                  <a:pt x="953" y="131"/>
                </a:lnTo>
                <a:lnTo>
                  <a:pt x="958" y="131"/>
                </a:lnTo>
                <a:lnTo>
                  <a:pt x="965" y="134"/>
                </a:lnTo>
                <a:lnTo>
                  <a:pt x="971" y="138"/>
                </a:lnTo>
                <a:lnTo>
                  <a:pt x="975" y="138"/>
                </a:lnTo>
                <a:lnTo>
                  <a:pt x="980" y="138"/>
                </a:lnTo>
                <a:lnTo>
                  <a:pt x="976" y="131"/>
                </a:lnTo>
                <a:lnTo>
                  <a:pt x="975" y="122"/>
                </a:lnTo>
                <a:lnTo>
                  <a:pt x="976" y="119"/>
                </a:lnTo>
                <a:lnTo>
                  <a:pt x="976" y="117"/>
                </a:lnTo>
                <a:lnTo>
                  <a:pt x="986" y="134"/>
                </a:lnTo>
                <a:lnTo>
                  <a:pt x="995" y="153"/>
                </a:lnTo>
                <a:lnTo>
                  <a:pt x="1005" y="180"/>
                </a:lnTo>
                <a:lnTo>
                  <a:pt x="1012" y="205"/>
                </a:lnTo>
                <a:lnTo>
                  <a:pt x="1018" y="227"/>
                </a:lnTo>
                <a:lnTo>
                  <a:pt x="1020" y="244"/>
                </a:lnTo>
                <a:lnTo>
                  <a:pt x="1037" y="276"/>
                </a:lnTo>
                <a:lnTo>
                  <a:pt x="1054" y="303"/>
                </a:lnTo>
                <a:lnTo>
                  <a:pt x="1062" y="316"/>
                </a:lnTo>
                <a:lnTo>
                  <a:pt x="1072" y="328"/>
                </a:lnTo>
                <a:lnTo>
                  <a:pt x="1081" y="338"/>
                </a:lnTo>
                <a:lnTo>
                  <a:pt x="1092" y="348"/>
                </a:lnTo>
                <a:lnTo>
                  <a:pt x="1101" y="350"/>
                </a:lnTo>
                <a:lnTo>
                  <a:pt x="1108" y="350"/>
                </a:lnTo>
                <a:lnTo>
                  <a:pt x="1113" y="353"/>
                </a:lnTo>
                <a:lnTo>
                  <a:pt x="1118" y="355"/>
                </a:lnTo>
                <a:lnTo>
                  <a:pt x="1126" y="360"/>
                </a:lnTo>
                <a:lnTo>
                  <a:pt x="1133" y="365"/>
                </a:lnTo>
                <a:lnTo>
                  <a:pt x="1138" y="372"/>
                </a:lnTo>
                <a:lnTo>
                  <a:pt x="1141" y="377"/>
                </a:lnTo>
                <a:lnTo>
                  <a:pt x="1145" y="384"/>
                </a:lnTo>
                <a:lnTo>
                  <a:pt x="1146" y="389"/>
                </a:lnTo>
                <a:lnTo>
                  <a:pt x="1146" y="395"/>
                </a:lnTo>
                <a:lnTo>
                  <a:pt x="1146" y="402"/>
                </a:lnTo>
                <a:lnTo>
                  <a:pt x="1136" y="407"/>
                </a:lnTo>
                <a:lnTo>
                  <a:pt x="1126" y="412"/>
                </a:lnTo>
                <a:lnTo>
                  <a:pt x="1129" y="432"/>
                </a:lnTo>
                <a:lnTo>
                  <a:pt x="1135" y="453"/>
                </a:lnTo>
                <a:lnTo>
                  <a:pt x="1151" y="453"/>
                </a:lnTo>
                <a:lnTo>
                  <a:pt x="1168" y="453"/>
                </a:lnTo>
                <a:lnTo>
                  <a:pt x="1178" y="473"/>
                </a:lnTo>
                <a:lnTo>
                  <a:pt x="1188" y="493"/>
                </a:lnTo>
                <a:lnTo>
                  <a:pt x="1190" y="513"/>
                </a:lnTo>
                <a:lnTo>
                  <a:pt x="1192" y="535"/>
                </a:lnTo>
                <a:lnTo>
                  <a:pt x="1185" y="535"/>
                </a:lnTo>
                <a:lnTo>
                  <a:pt x="1177" y="535"/>
                </a:lnTo>
                <a:lnTo>
                  <a:pt x="1175" y="528"/>
                </a:lnTo>
                <a:lnTo>
                  <a:pt x="1170" y="523"/>
                </a:lnTo>
                <a:lnTo>
                  <a:pt x="1161" y="518"/>
                </a:lnTo>
                <a:lnTo>
                  <a:pt x="1146" y="517"/>
                </a:lnTo>
                <a:lnTo>
                  <a:pt x="1145" y="518"/>
                </a:lnTo>
                <a:lnTo>
                  <a:pt x="1145" y="520"/>
                </a:lnTo>
                <a:lnTo>
                  <a:pt x="1145" y="522"/>
                </a:lnTo>
                <a:lnTo>
                  <a:pt x="1146" y="525"/>
                </a:lnTo>
                <a:lnTo>
                  <a:pt x="1155" y="530"/>
                </a:lnTo>
                <a:lnTo>
                  <a:pt x="1173" y="538"/>
                </a:lnTo>
                <a:lnTo>
                  <a:pt x="1172" y="559"/>
                </a:lnTo>
                <a:lnTo>
                  <a:pt x="1170" y="579"/>
                </a:lnTo>
                <a:lnTo>
                  <a:pt x="1156" y="579"/>
                </a:lnTo>
                <a:lnTo>
                  <a:pt x="1141" y="581"/>
                </a:lnTo>
                <a:lnTo>
                  <a:pt x="1138" y="577"/>
                </a:lnTo>
                <a:lnTo>
                  <a:pt x="1135" y="574"/>
                </a:lnTo>
                <a:lnTo>
                  <a:pt x="1131" y="570"/>
                </a:lnTo>
                <a:lnTo>
                  <a:pt x="1126" y="569"/>
                </a:lnTo>
                <a:lnTo>
                  <a:pt x="1116" y="569"/>
                </a:lnTo>
                <a:lnTo>
                  <a:pt x="1104" y="569"/>
                </a:lnTo>
                <a:lnTo>
                  <a:pt x="1109" y="581"/>
                </a:lnTo>
                <a:lnTo>
                  <a:pt x="1116" y="591"/>
                </a:lnTo>
                <a:lnTo>
                  <a:pt x="1119" y="594"/>
                </a:lnTo>
                <a:lnTo>
                  <a:pt x="1123" y="597"/>
                </a:lnTo>
                <a:lnTo>
                  <a:pt x="1128" y="599"/>
                </a:lnTo>
                <a:lnTo>
                  <a:pt x="1133" y="597"/>
                </a:lnTo>
                <a:lnTo>
                  <a:pt x="1140" y="602"/>
                </a:lnTo>
                <a:lnTo>
                  <a:pt x="1146" y="609"/>
                </a:lnTo>
                <a:lnTo>
                  <a:pt x="1146" y="629"/>
                </a:lnTo>
                <a:lnTo>
                  <a:pt x="1146" y="650"/>
                </a:lnTo>
                <a:lnTo>
                  <a:pt x="1135" y="639"/>
                </a:lnTo>
                <a:lnTo>
                  <a:pt x="1123" y="628"/>
                </a:lnTo>
                <a:lnTo>
                  <a:pt x="1104" y="628"/>
                </a:lnTo>
                <a:lnTo>
                  <a:pt x="1087" y="628"/>
                </a:lnTo>
                <a:lnTo>
                  <a:pt x="1069" y="626"/>
                </a:lnTo>
                <a:lnTo>
                  <a:pt x="1050" y="621"/>
                </a:lnTo>
                <a:lnTo>
                  <a:pt x="1034" y="618"/>
                </a:lnTo>
                <a:lnTo>
                  <a:pt x="1015" y="611"/>
                </a:lnTo>
                <a:lnTo>
                  <a:pt x="998" y="606"/>
                </a:lnTo>
                <a:lnTo>
                  <a:pt x="981" y="597"/>
                </a:lnTo>
                <a:lnTo>
                  <a:pt x="965" y="597"/>
                </a:lnTo>
                <a:lnTo>
                  <a:pt x="949" y="597"/>
                </a:lnTo>
                <a:lnTo>
                  <a:pt x="934" y="597"/>
                </a:lnTo>
                <a:lnTo>
                  <a:pt x="917" y="597"/>
                </a:lnTo>
                <a:lnTo>
                  <a:pt x="917" y="592"/>
                </a:lnTo>
                <a:lnTo>
                  <a:pt x="917" y="587"/>
                </a:lnTo>
                <a:lnTo>
                  <a:pt x="921" y="584"/>
                </a:lnTo>
                <a:lnTo>
                  <a:pt x="924" y="581"/>
                </a:lnTo>
                <a:lnTo>
                  <a:pt x="922" y="575"/>
                </a:lnTo>
                <a:lnTo>
                  <a:pt x="922" y="572"/>
                </a:lnTo>
                <a:lnTo>
                  <a:pt x="917" y="569"/>
                </a:lnTo>
                <a:lnTo>
                  <a:pt x="914" y="567"/>
                </a:lnTo>
                <a:lnTo>
                  <a:pt x="909" y="567"/>
                </a:lnTo>
                <a:lnTo>
                  <a:pt x="902" y="569"/>
                </a:lnTo>
                <a:lnTo>
                  <a:pt x="901" y="572"/>
                </a:lnTo>
                <a:lnTo>
                  <a:pt x="897" y="577"/>
                </a:lnTo>
                <a:lnTo>
                  <a:pt x="899" y="581"/>
                </a:lnTo>
                <a:lnTo>
                  <a:pt x="899" y="586"/>
                </a:lnTo>
                <a:lnTo>
                  <a:pt x="902" y="587"/>
                </a:lnTo>
                <a:lnTo>
                  <a:pt x="907" y="589"/>
                </a:lnTo>
                <a:lnTo>
                  <a:pt x="907" y="594"/>
                </a:lnTo>
                <a:lnTo>
                  <a:pt x="909" y="601"/>
                </a:lnTo>
                <a:lnTo>
                  <a:pt x="889" y="602"/>
                </a:lnTo>
                <a:lnTo>
                  <a:pt x="869" y="606"/>
                </a:lnTo>
                <a:lnTo>
                  <a:pt x="870" y="597"/>
                </a:lnTo>
                <a:lnTo>
                  <a:pt x="870" y="591"/>
                </a:lnTo>
                <a:lnTo>
                  <a:pt x="870" y="579"/>
                </a:lnTo>
                <a:lnTo>
                  <a:pt x="870" y="567"/>
                </a:lnTo>
                <a:lnTo>
                  <a:pt x="869" y="562"/>
                </a:lnTo>
                <a:lnTo>
                  <a:pt x="867" y="557"/>
                </a:lnTo>
                <a:lnTo>
                  <a:pt x="867" y="552"/>
                </a:lnTo>
                <a:lnTo>
                  <a:pt x="867" y="547"/>
                </a:lnTo>
                <a:lnTo>
                  <a:pt x="872" y="547"/>
                </a:lnTo>
                <a:lnTo>
                  <a:pt x="877" y="547"/>
                </a:lnTo>
                <a:lnTo>
                  <a:pt x="880" y="550"/>
                </a:lnTo>
                <a:lnTo>
                  <a:pt x="882" y="555"/>
                </a:lnTo>
                <a:lnTo>
                  <a:pt x="882" y="537"/>
                </a:lnTo>
                <a:lnTo>
                  <a:pt x="880" y="520"/>
                </a:lnTo>
                <a:lnTo>
                  <a:pt x="874" y="523"/>
                </a:lnTo>
                <a:lnTo>
                  <a:pt x="867" y="525"/>
                </a:lnTo>
                <a:lnTo>
                  <a:pt x="862" y="532"/>
                </a:lnTo>
                <a:lnTo>
                  <a:pt x="857" y="537"/>
                </a:lnTo>
                <a:lnTo>
                  <a:pt x="857" y="542"/>
                </a:lnTo>
                <a:lnTo>
                  <a:pt x="857" y="545"/>
                </a:lnTo>
                <a:lnTo>
                  <a:pt x="857" y="557"/>
                </a:lnTo>
                <a:lnTo>
                  <a:pt x="857" y="567"/>
                </a:lnTo>
                <a:lnTo>
                  <a:pt x="848" y="567"/>
                </a:lnTo>
                <a:lnTo>
                  <a:pt x="840" y="567"/>
                </a:lnTo>
                <a:lnTo>
                  <a:pt x="837" y="560"/>
                </a:lnTo>
                <a:lnTo>
                  <a:pt x="837" y="554"/>
                </a:lnTo>
                <a:lnTo>
                  <a:pt x="837" y="547"/>
                </a:lnTo>
                <a:lnTo>
                  <a:pt x="840" y="540"/>
                </a:lnTo>
                <a:lnTo>
                  <a:pt x="825" y="528"/>
                </a:lnTo>
                <a:lnTo>
                  <a:pt x="808" y="517"/>
                </a:lnTo>
                <a:lnTo>
                  <a:pt x="808" y="527"/>
                </a:lnTo>
                <a:lnTo>
                  <a:pt x="808" y="537"/>
                </a:lnTo>
                <a:lnTo>
                  <a:pt x="813" y="542"/>
                </a:lnTo>
                <a:lnTo>
                  <a:pt x="816" y="545"/>
                </a:lnTo>
                <a:lnTo>
                  <a:pt x="820" y="549"/>
                </a:lnTo>
                <a:lnTo>
                  <a:pt x="821" y="554"/>
                </a:lnTo>
                <a:lnTo>
                  <a:pt x="821" y="559"/>
                </a:lnTo>
                <a:lnTo>
                  <a:pt x="820" y="562"/>
                </a:lnTo>
                <a:lnTo>
                  <a:pt x="816" y="567"/>
                </a:lnTo>
                <a:lnTo>
                  <a:pt x="813" y="572"/>
                </a:lnTo>
                <a:lnTo>
                  <a:pt x="808" y="575"/>
                </a:lnTo>
                <a:lnTo>
                  <a:pt x="808" y="581"/>
                </a:lnTo>
                <a:lnTo>
                  <a:pt x="810" y="586"/>
                </a:lnTo>
                <a:lnTo>
                  <a:pt x="815" y="592"/>
                </a:lnTo>
                <a:lnTo>
                  <a:pt x="823" y="592"/>
                </a:lnTo>
                <a:lnTo>
                  <a:pt x="826" y="594"/>
                </a:lnTo>
                <a:lnTo>
                  <a:pt x="828" y="599"/>
                </a:lnTo>
                <a:lnTo>
                  <a:pt x="825" y="606"/>
                </a:lnTo>
                <a:lnTo>
                  <a:pt x="843" y="607"/>
                </a:lnTo>
                <a:lnTo>
                  <a:pt x="862" y="609"/>
                </a:lnTo>
                <a:lnTo>
                  <a:pt x="840" y="618"/>
                </a:lnTo>
                <a:lnTo>
                  <a:pt x="820" y="628"/>
                </a:lnTo>
                <a:lnTo>
                  <a:pt x="803" y="639"/>
                </a:lnTo>
                <a:lnTo>
                  <a:pt x="788" y="653"/>
                </a:lnTo>
                <a:lnTo>
                  <a:pt x="774" y="660"/>
                </a:lnTo>
                <a:lnTo>
                  <a:pt x="763" y="668"/>
                </a:lnTo>
                <a:lnTo>
                  <a:pt x="757" y="673"/>
                </a:lnTo>
                <a:lnTo>
                  <a:pt x="754" y="678"/>
                </a:lnTo>
                <a:lnTo>
                  <a:pt x="751" y="683"/>
                </a:lnTo>
                <a:lnTo>
                  <a:pt x="749" y="690"/>
                </a:lnTo>
                <a:lnTo>
                  <a:pt x="737" y="707"/>
                </a:lnTo>
                <a:lnTo>
                  <a:pt x="725" y="719"/>
                </a:lnTo>
                <a:lnTo>
                  <a:pt x="719" y="722"/>
                </a:lnTo>
                <a:lnTo>
                  <a:pt x="714" y="725"/>
                </a:lnTo>
                <a:lnTo>
                  <a:pt x="707" y="727"/>
                </a:lnTo>
                <a:lnTo>
                  <a:pt x="700" y="727"/>
                </a:lnTo>
                <a:lnTo>
                  <a:pt x="683" y="737"/>
                </a:lnTo>
                <a:lnTo>
                  <a:pt x="667" y="746"/>
                </a:lnTo>
                <a:lnTo>
                  <a:pt x="653" y="757"/>
                </a:lnTo>
                <a:lnTo>
                  <a:pt x="640" y="767"/>
                </a:lnTo>
                <a:lnTo>
                  <a:pt x="626" y="779"/>
                </a:lnTo>
                <a:lnTo>
                  <a:pt x="616" y="793"/>
                </a:lnTo>
                <a:lnTo>
                  <a:pt x="606" y="805"/>
                </a:lnTo>
                <a:lnTo>
                  <a:pt x="596" y="818"/>
                </a:lnTo>
                <a:lnTo>
                  <a:pt x="581" y="830"/>
                </a:lnTo>
                <a:lnTo>
                  <a:pt x="564" y="842"/>
                </a:lnTo>
                <a:lnTo>
                  <a:pt x="549" y="853"/>
                </a:lnTo>
                <a:lnTo>
                  <a:pt x="534" y="867"/>
                </a:lnTo>
                <a:lnTo>
                  <a:pt x="535" y="862"/>
                </a:lnTo>
                <a:lnTo>
                  <a:pt x="537" y="857"/>
                </a:lnTo>
                <a:lnTo>
                  <a:pt x="529" y="857"/>
                </a:lnTo>
                <a:lnTo>
                  <a:pt x="522" y="855"/>
                </a:lnTo>
                <a:lnTo>
                  <a:pt x="515" y="850"/>
                </a:lnTo>
                <a:lnTo>
                  <a:pt x="510" y="845"/>
                </a:lnTo>
                <a:lnTo>
                  <a:pt x="507" y="847"/>
                </a:lnTo>
                <a:lnTo>
                  <a:pt x="503" y="848"/>
                </a:lnTo>
                <a:lnTo>
                  <a:pt x="515" y="858"/>
                </a:lnTo>
                <a:lnTo>
                  <a:pt x="527" y="869"/>
                </a:lnTo>
                <a:lnTo>
                  <a:pt x="525" y="875"/>
                </a:lnTo>
                <a:lnTo>
                  <a:pt x="524" y="880"/>
                </a:lnTo>
                <a:lnTo>
                  <a:pt x="520" y="885"/>
                </a:lnTo>
                <a:lnTo>
                  <a:pt x="515" y="889"/>
                </a:lnTo>
                <a:lnTo>
                  <a:pt x="507" y="895"/>
                </a:lnTo>
                <a:lnTo>
                  <a:pt x="495" y="902"/>
                </a:lnTo>
                <a:lnTo>
                  <a:pt x="486" y="901"/>
                </a:lnTo>
                <a:lnTo>
                  <a:pt x="478" y="899"/>
                </a:lnTo>
                <a:lnTo>
                  <a:pt x="478" y="889"/>
                </a:lnTo>
                <a:lnTo>
                  <a:pt x="476" y="879"/>
                </a:lnTo>
                <a:lnTo>
                  <a:pt x="475" y="870"/>
                </a:lnTo>
                <a:lnTo>
                  <a:pt x="473" y="862"/>
                </a:lnTo>
                <a:lnTo>
                  <a:pt x="471" y="853"/>
                </a:lnTo>
                <a:lnTo>
                  <a:pt x="466" y="847"/>
                </a:lnTo>
                <a:lnTo>
                  <a:pt x="460" y="842"/>
                </a:lnTo>
                <a:lnTo>
                  <a:pt x="451" y="837"/>
                </a:lnTo>
                <a:lnTo>
                  <a:pt x="444" y="835"/>
                </a:lnTo>
                <a:lnTo>
                  <a:pt x="438" y="833"/>
                </a:lnTo>
                <a:lnTo>
                  <a:pt x="433" y="830"/>
                </a:lnTo>
                <a:lnTo>
                  <a:pt x="428" y="826"/>
                </a:lnTo>
                <a:lnTo>
                  <a:pt x="423" y="823"/>
                </a:lnTo>
                <a:lnTo>
                  <a:pt x="419" y="820"/>
                </a:lnTo>
                <a:lnTo>
                  <a:pt x="416" y="816"/>
                </a:lnTo>
                <a:lnTo>
                  <a:pt x="414" y="811"/>
                </a:lnTo>
                <a:lnTo>
                  <a:pt x="412" y="803"/>
                </a:lnTo>
                <a:lnTo>
                  <a:pt x="412" y="794"/>
                </a:lnTo>
                <a:lnTo>
                  <a:pt x="399" y="788"/>
                </a:lnTo>
                <a:lnTo>
                  <a:pt x="389" y="783"/>
                </a:lnTo>
                <a:lnTo>
                  <a:pt x="382" y="778"/>
                </a:lnTo>
                <a:lnTo>
                  <a:pt x="377" y="773"/>
                </a:lnTo>
                <a:lnTo>
                  <a:pt x="377" y="769"/>
                </a:lnTo>
                <a:lnTo>
                  <a:pt x="377" y="766"/>
                </a:lnTo>
                <a:lnTo>
                  <a:pt x="379" y="764"/>
                </a:lnTo>
                <a:lnTo>
                  <a:pt x="380" y="761"/>
                </a:lnTo>
                <a:lnTo>
                  <a:pt x="387" y="756"/>
                </a:lnTo>
                <a:lnTo>
                  <a:pt x="399" y="749"/>
                </a:lnTo>
                <a:lnTo>
                  <a:pt x="406" y="739"/>
                </a:lnTo>
                <a:lnTo>
                  <a:pt x="411" y="730"/>
                </a:lnTo>
                <a:lnTo>
                  <a:pt x="409" y="727"/>
                </a:lnTo>
                <a:lnTo>
                  <a:pt x="407" y="724"/>
                </a:lnTo>
                <a:lnTo>
                  <a:pt x="404" y="722"/>
                </a:lnTo>
                <a:lnTo>
                  <a:pt x="397" y="719"/>
                </a:lnTo>
                <a:lnTo>
                  <a:pt x="382" y="714"/>
                </a:lnTo>
                <a:lnTo>
                  <a:pt x="365" y="709"/>
                </a:lnTo>
                <a:lnTo>
                  <a:pt x="355" y="705"/>
                </a:lnTo>
                <a:lnTo>
                  <a:pt x="347" y="703"/>
                </a:lnTo>
                <a:lnTo>
                  <a:pt x="337" y="705"/>
                </a:lnTo>
                <a:lnTo>
                  <a:pt x="328" y="707"/>
                </a:lnTo>
                <a:lnTo>
                  <a:pt x="310" y="720"/>
                </a:lnTo>
                <a:lnTo>
                  <a:pt x="291" y="734"/>
                </a:lnTo>
                <a:lnTo>
                  <a:pt x="273" y="747"/>
                </a:lnTo>
                <a:lnTo>
                  <a:pt x="254" y="761"/>
                </a:lnTo>
                <a:lnTo>
                  <a:pt x="244" y="767"/>
                </a:lnTo>
                <a:lnTo>
                  <a:pt x="234" y="773"/>
                </a:lnTo>
                <a:lnTo>
                  <a:pt x="229" y="773"/>
                </a:lnTo>
                <a:lnTo>
                  <a:pt x="224" y="771"/>
                </a:lnTo>
                <a:lnTo>
                  <a:pt x="219" y="766"/>
                </a:lnTo>
                <a:lnTo>
                  <a:pt x="214" y="759"/>
                </a:lnTo>
                <a:lnTo>
                  <a:pt x="207" y="749"/>
                </a:lnTo>
                <a:lnTo>
                  <a:pt x="200" y="744"/>
                </a:lnTo>
                <a:lnTo>
                  <a:pt x="195" y="741"/>
                </a:lnTo>
                <a:lnTo>
                  <a:pt x="190" y="741"/>
                </a:lnTo>
                <a:lnTo>
                  <a:pt x="180" y="746"/>
                </a:lnTo>
                <a:lnTo>
                  <a:pt x="172" y="756"/>
                </a:lnTo>
                <a:lnTo>
                  <a:pt x="168" y="761"/>
                </a:lnTo>
                <a:lnTo>
                  <a:pt x="163" y="764"/>
                </a:lnTo>
                <a:lnTo>
                  <a:pt x="158" y="766"/>
                </a:lnTo>
                <a:lnTo>
                  <a:pt x="153" y="767"/>
                </a:lnTo>
                <a:lnTo>
                  <a:pt x="150" y="766"/>
                </a:lnTo>
                <a:lnTo>
                  <a:pt x="145" y="766"/>
                </a:lnTo>
                <a:lnTo>
                  <a:pt x="140" y="762"/>
                </a:lnTo>
                <a:lnTo>
                  <a:pt x="135" y="761"/>
                </a:lnTo>
                <a:lnTo>
                  <a:pt x="131" y="754"/>
                </a:lnTo>
                <a:lnTo>
                  <a:pt x="126" y="751"/>
                </a:lnTo>
                <a:lnTo>
                  <a:pt x="121" y="751"/>
                </a:lnTo>
                <a:lnTo>
                  <a:pt x="116" y="751"/>
                </a:lnTo>
                <a:lnTo>
                  <a:pt x="111" y="752"/>
                </a:lnTo>
                <a:lnTo>
                  <a:pt x="104" y="757"/>
                </a:lnTo>
                <a:lnTo>
                  <a:pt x="99" y="764"/>
                </a:lnTo>
                <a:lnTo>
                  <a:pt x="93" y="773"/>
                </a:lnTo>
                <a:lnTo>
                  <a:pt x="81" y="779"/>
                </a:lnTo>
                <a:lnTo>
                  <a:pt x="69" y="786"/>
                </a:lnTo>
                <a:lnTo>
                  <a:pt x="59" y="791"/>
                </a:lnTo>
                <a:lnTo>
                  <a:pt x="49" y="794"/>
                </a:lnTo>
                <a:lnTo>
                  <a:pt x="32" y="798"/>
                </a:lnTo>
                <a:lnTo>
                  <a:pt x="15" y="799"/>
                </a:lnTo>
                <a:lnTo>
                  <a:pt x="8" y="799"/>
                </a:lnTo>
                <a:lnTo>
                  <a:pt x="0" y="799"/>
                </a:lnTo>
                <a:lnTo>
                  <a:pt x="20" y="773"/>
                </a:lnTo>
                <a:lnTo>
                  <a:pt x="40" y="747"/>
                </a:lnTo>
                <a:lnTo>
                  <a:pt x="52" y="735"/>
                </a:lnTo>
                <a:lnTo>
                  <a:pt x="62" y="725"/>
                </a:lnTo>
                <a:lnTo>
                  <a:pt x="74" y="717"/>
                </a:lnTo>
                <a:lnTo>
                  <a:pt x="84" y="709"/>
                </a:lnTo>
                <a:lnTo>
                  <a:pt x="93" y="700"/>
                </a:lnTo>
                <a:lnTo>
                  <a:pt x="101" y="695"/>
                </a:lnTo>
                <a:lnTo>
                  <a:pt x="104" y="693"/>
                </a:lnTo>
                <a:lnTo>
                  <a:pt x="108" y="692"/>
                </a:lnTo>
                <a:lnTo>
                  <a:pt x="113" y="693"/>
                </a:lnTo>
                <a:lnTo>
                  <a:pt x="116" y="693"/>
                </a:lnTo>
                <a:lnTo>
                  <a:pt x="123" y="693"/>
                </a:lnTo>
                <a:lnTo>
                  <a:pt x="128" y="690"/>
                </a:lnTo>
                <a:lnTo>
                  <a:pt x="131" y="687"/>
                </a:lnTo>
                <a:lnTo>
                  <a:pt x="135" y="682"/>
                </a:lnTo>
                <a:lnTo>
                  <a:pt x="136" y="673"/>
                </a:lnTo>
                <a:lnTo>
                  <a:pt x="140" y="668"/>
                </a:lnTo>
                <a:lnTo>
                  <a:pt x="141" y="665"/>
                </a:lnTo>
                <a:lnTo>
                  <a:pt x="145" y="665"/>
                </a:lnTo>
                <a:lnTo>
                  <a:pt x="150" y="666"/>
                </a:lnTo>
                <a:lnTo>
                  <a:pt x="157" y="673"/>
                </a:lnTo>
                <a:lnTo>
                  <a:pt x="170" y="673"/>
                </a:lnTo>
                <a:lnTo>
                  <a:pt x="182" y="673"/>
                </a:lnTo>
                <a:lnTo>
                  <a:pt x="195" y="673"/>
                </a:lnTo>
                <a:lnTo>
                  <a:pt x="207" y="673"/>
                </a:lnTo>
                <a:lnTo>
                  <a:pt x="214" y="673"/>
                </a:lnTo>
                <a:lnTo>
                  <a:pt x="219" y="671"/>
                </a:lnTo>
                <a:lnTo>
                  <a:pt x="222" y="668"/>
                </a:lnTo>
                <a:lnTo>
                  <a:pt x="224" y="666"/>
                </a:lnTo>
                <a:lnTo>
                  <a:pt x="226" y="663"/>
                </a:lnTo>
                <a:lnTo>
                  <a:pt x="226" y="658"/>
                </a:lnTo>
                <a:lnTo>
                  <a:pt x="224" y="653"/>
                </a:lnTo>
                <a:lnTo>
                  <a:pt x="222" y="648"/>
                </a:lnTo>
                <a:lnTo>
                  <a:pt x="217" y="641"/>
                </a:lnTo>
                <a:lnTo>
                  <a:pt x="215" y="636"/>
                </a:lnTo>
                <a:lnTo>
                  <a:pt x="217" y="631"/>
                </a:lnTo>
                <a:lnTo>
                  <a:pt x="221" y="628"/>
                </a:lnTo>
                <a:lnTo>
                  <a:pt x="226" y="619"/>
                </a:lnTo>
                <a:lnTo>
                  <a:pt x="227" y="609"/>
                </a:lnTo>
                <a:lnTo>
                  <a:pt x="227" y="599"/>
                </a:lnTo>
                <a:lnTo>
                  <a:pt x="227" y="587"/>
                </a:lnTo>
                <a:lnTo>
                  <a:pt x="226" y="584"/>
                </a:lnTo>
                <a:lnTo>
                  <a:pt x="226" y="581"/>
                </a:lnTo>
                <a:lnTo>
                  <a:pt x="226" y="577"/>
                </a:lnTo>
                <a:lnTo>
                  <a:pt x="227" y="575"/>
                </a:lnTo>
                <a:lnTo>
                  <a:pt x="231" y="574"/>
                </a:lnTo>
                <a:lnTo>
                  <a:pt x="234" y="574"/>
                </a:lnTo>
                <a:lnTo>
                  <a:pt x="237" y="575"/>
                </a:lnTo>
                <a:lnTo>
                  <a:pt x="241" y="579"/>
                </a:lnTo>
                <a:lnTo>
                  <a:pt x="249" y="579"/>
                </a:lnTo>
                <a:lnTo>
                  <a:pt x="254" y="579"/>
                </a:lnTo>
                <a:lnTo>
                  <a:pt x="258" y="577"/>
                </a:lnTo>
                <a:lnTo>
                  <a:pt x="258" y="575"/>
                </a:lnTo>
                <a:lnTo>
                  <a:pt x="258" y="572"/>
                </a:lnTo>
                <a:lnTo>
                  <a:pt x="254" y="567"/>
                </a:lnTo>
                <a:lnTo>
                  <a:pt x="251" y="564"/>
                </a:lnTo>
                <a:lnTo>
                  <a:pt x="249" y="560"/>
                </a:lnTo>
                <a:lnTo>
                  <a:pt x="249" y="557"/>
                </a:lnTo>
                <a:lnTo>
                  <a:pt x="249" y="555"/>
                </a:lnTo>
                <a:lnTo>
                  <a:pt x="254" y="552"/>
                </a:lnTo>
                <a:lnTo>
                  <a:pt x="264" y="552"/>
                </a:lnTo>
                <a:lnTo>
                  <a:pt x="271" y="549"/>
                </a:lnTo>
                <a:lnTo>
                  <a:pt x="278" y="545"/>
                </a:lnTo>
                <a:lnTo>
                  <a:pt x="281" y="535"/>
                </a:lnTo>
                <a:lnTo>
                  <a:pt x="283" y="533"/>
                </a:lnTo>
                <a:lnTo>
                  <a:pt x="286" y="535"/>
                </a:lnTo>
                <a:lnTo>
                  <a:pt x="290" y="543"/>
                </a:lnTo>
                <a:lnTo>
                  <a:pt x="295" y="554"/>
                </a:lnTo>
                <a:lnTo>
                  <a:pt x="298" y="559"/>
                </a:lnTo>
                <a:lnTo>
                  <a:pt x="301" y="557"/>
                </a:lnTo>
                <a:lnTo>
                  <a:pt x="303" y="549"/>
                </a:lnTo>
                <a:lnTo>
                  <a:pt x="303" y="540"/>
                </a:lnTo>
                <a:lnTo>
                  <a:pt x="305" y="533"/>
                </a:lnTo>
                <a:lnTo>
                  <a:pt x="306" y="528"/>
                </a:lnTo>
                <a:lnTo>
                  <a:pt x="308" y="527"/>
                </a:lnTo>
                <a:lnTo>
                  <a:pt x="313" y="525"/>
                </a:lnTo>
                <a:lnTo>
                  <a:pt x="316" y="525"/>
                </a:lnTo>
                <a:lnTo>
                  <a:pt x="322" y="528"/>
                </a:lnTo>
                <a:lnTo>
                  <a:pt x="328" y="532"/>
                </a:lnTo>
                <a:lnTo>
                  <a:pt x="333" y="545"/>
                </a:lnTo>
                <a:lnTo>
                  <a:pt x="340" y="557"/>
                </a:lnTo>
                <a:lnTo>
                  <a:pt x="342" y="562"/>
                </a:lnTo>
                <a:lnTo>
                  <a:pt x="343" y="564"/>
                </a:lnTo>
                <a:lnTo>
                  <a:pt x="347" y="565"/>
                </a:lnTo>
                <a:lnTo>
                  <a:pt x="348" y="567"/>
                </a:lnTo>
                <a:lnTo>
                  <a:pt x="353" y="564"/>
                </a:lnTo>
                <a:lnTo>
                  <a:pt x="360" y="557"/>
                </a:lnTo>
                <a:lnTo>
                  <a:pt x="362" y="547"/>
                </a:lnTo>
                <a:lnTo>
                  <a:pt x="365" y="540"/>
                </a:lnTo>
                <a:lnTo>
                  <a:pt x="369" y="535"/>
                </a:lnTo>
                <a:lnTo>
                  <a:pt x="372" y="532"/>
                </a:lnTo>
                <a:lnTo>
                  <a:pt x="375" y="528"/>
                </a:lnTo>
                <a:lnTo>
                  <a:pt x="380" y="528"/>
                </a:lnTo>
                <a:lnTo>
                  <a:pt x="387" y="528"/>
                </a:lnTo>
                <a:lnTo>
                  <a:pt x="392" y="530"/>
                </a:lnTo>
                <a:lnTo>
                  <a:pt x="401" y="532"/>
                </a:lnTo>
                <a:lnTo>
                  <a:pt x="407" y="530"/>
                </a:lnTo>
                <a:lnTo>
                  <a:pt x="416" y="528"/>
                </a:lnTo>
                <a:lnTo>
                  <a:pt x="424" y="523"/>
                </a:lnTo>
                <a:lnTo>
                  <a:pt x="431" y="518"/>
                </a:lnTo>
                <a:lnTo>
                  <a:pt x="438" y="515"/>
                </a:lnTo>
                <a:lnTo>
                  <a:pt x="444" y="517"/>
                </a:lnTo>
                <a:lnTo>
                  <a:pt x="453" y="520"/>
                </a:lnTo>
                <a:lnTo>
                  <a:pt x="466" y="522"/>
                </a:lnTo>
                <a:lnTo>
                  <a:pt x="480" y="522"/>
                </a:lnTo>
                <a:lnTo>
                  <a:pt x="492" y="522"/>
                </a:lnTo>
                <a:lnTo>
                  <a:pt x="503" y="520"/>
                </a:lnTo>
                <a:lnTo>
                  <a:pt x="512" y="517"/>
                </a:lnTo>
                <a:lnTo>
                  <a:pt x="518" y="515"/>
                </a:lnTo>
                <a:lnTo>
                  <a:pt x="524" y="510"/>
                </a:lnTo>
                <a:lnTo>
                  <a:pt x="525" y="506"/>
                </a:lnTo>
                <a:lnTo>
                  <a:pt x="527" y="495"/>
                </a:lnTo>
                <a:lnTo>
                  <a:pt x="529" y="488"/>
                </a:lnTo>
                <a:lnTo>
                  <a:pt x="532" y="481"/>
                </a:lnTo>
                <a:lnTo>
                  <a:pt x="537" y="478"/>
                </a:lnTo>
                <a:lnTo>
                  <a:pt x="542" y="476"/>
                </a:lnTo>
                <a:lnTo>
                  <a:pt x="547" y="476"/>
                </a:lnTo>
                <a:lnTo>
                  <a:pt x="552" y="479"/>
                </a:lnTo>
                <a:lnTo>
                  <a:pt x="559" y="483"/>
                </a:lnTo>
                <a:lnTo>
                  <a:pt x="567" y="485"/>
                </a:lnTo>
                <a:lnTo>
                  <a:pt x="574" y="483"/>
                </a:lnTo>
                <a:lnTo>
                  <a:pt x="581" y="481"/>
                </a:lnTo>
                <a:lnTo>
                  <a:pt x="586" y="478"/>
                </a:lnTo>
                <a:lnTo>
                  <a:pt x="589" y="474"/>
                </a:lnTo>
                <a:lnTo>
                  <a:pt x="593" y="468"/>
                </a:lnTo>
                <a:lnTo>
                  <a:pt x="594" y="461"/>
                </a:lnTo>
                <a:lnTo>
                  <a:pt x="598" y="453"/>
                </a:lnTo>
                <a:lnTo>
                  <a:pt x="598" y="441"/>
                </a:lnTo>
                <a:lnTo>
                  <a:pt x="598" y="431"/>
                </a:lnTo>
                <a:lnTo>
                  <a:pt x="601" y="421"/>
                </a:lnTo>
                <a:lnTo>
                  <a:pt x="604" y="414"/>
                </a:lnTo>
                <a:lnTo>
                  <a:pt x="608" y="409"/>
                </a:lnTo>
                <a:lnTo>
                  <a:pt x="614" y="405"/>
                </a:lnTo>
                <a:lnTo>
                  <a:pt x="621" y="404"/>
                </a:lnTo>
                <a:lnTo>
                  <a:pt x="630" y="404"/>
                </a:lnTo>
                <a:lnTo>
                  <a:pt x="641" y="402"/>
                </a:lnTo>
                <a:lnTo>
                  <a:pt x="651" y="402"/>
                </a:lnTo>
                <a:lnTo>
                  <a:pt x="660" y="404"/>
                </a:lnTo>
                <a:lnTo>
                  <a:pt x="665" y="409"/>
                </a:lnTo>
                <a:lnTo>
                  <a:pt x="668" y="414"/>
                </a:lnTo>
                <a:lnTo>
                  <a:pt x="670" y="421"/>
                </a:lnTo>
                <a:lnTo>
                  <a:pt x="672" y="429"/>
                </a:lnTo>
                <a:lnTo>
                  <a:pt x="670" y="439"/>
                </a:lnTo>
                <a:lnTo>
                  <a:pt x="656" y="454"/>
                </a:lnTo>
                <a:lnTo>
                  <a:pt x="643" y="468"/>
                </a:lnTo>
                <a:lnTo>
                  <a:pt x="641" y="473"/>
                </a:lnTo>
                <a:lnTo>
                  <a:pt x="640" y="478"/>
                </a:lnTo>
                <a:lnTo>
                  <a:pt x="640" y="481"/>
                </a:lnTo>
                <a:lnTo>
                  <a:pt x="641" y="483"/>
                </a:lnTo>
                <a:lnTo>
                  <a:pt x="643" y="485"/>
                </a:lnTo>
                <a:lnTo>
                  <a:pt x="646" y="486"/>
                </a:lnTo>
                <a:lnTo>
                  <a:pt x="650" y="486"/>
                </a:lnTo>
                <a:lnTo>
                  <a:pt x="656" y="486"/>
                </a:lnTo>
                <a:lnTo>
                  <a:pt x="675" y="481"/>
                </a:lnTo>
                <a:lnTo>
                  <a:pt x="694" y="478"/>
                </a:lnTo>
                <a:lnTo>
                  <a:pt x="697" y="474"/>
                </a:lnTo>
                <a:lnTo>
                  <a:pt x="702" y="473"/>
                </a:lnTo>
                <a:lnTo>
                  <a:pt x="705" y="473"/>
                </a:lnTo>
                <a:lnTo>
                  <a:pt x="710" y="474"/>
                </a:lnTo>
                <a:lnTo>
                  <a:pt x="717" y="478"/>
                </a:lnTo>
                <a:lnTo>
                  <a:pt x="725" y="485"/>
                </a:lnTo>
                <a:lnTo>
                  <a:pt x="729" y="490"/>
                </a:lnTo>
                <a:lnTo>
                  <a:pt x="732" y="493"/>
                </a:lnTo>
                <a:lnTo>
                  <a:pt x="734" y="496"/>
                </a:lnTo>
                <a:lnTo>
                  <a:pt x="737" y="498"/>
                </a:lnTo>
                <a:lnTo>
                  <a:pt x="741" y="498"/>
                </a:lnTo>
                <a:lnTo>
                  <a:pt x="744" y="496"/>
                </a:lnTo>
                <a:lnTo>
                  <a:pt x="747" y="493"/>
                </a:lnTo>
                <a:lnTo>
                  <a:pt x="751" y="491"/>
                </a:lnTo>
                <a:lnTo>
                  <a:pt x="763" y="478"/>
                </a:lnTo>
                <a:lnTo>
                  <a:pt x="776" y="464"/>
                </a:lnTo>
                <a:lnTo>
                  <a:pt x="776" y="451"/>
                </a:lnTo>
                <a:lnTo>
                  <a:pt x="778" y="441"/>
                </a:lnTo>
                <a:lnTo>
                  <a:pt x="779" y="436"/>
                </a:lnTo>
                <a:lnTo>
                  <a:pt x="781" y="434"/>
                </a:lnTo>
                <a:lnTo>
                  <a:pt x="784" y="432"/>
                </a:lnTo>
                <a:lnTo>
                  <a:pt x="788" y="434"/>
                </a:lnTo>
                <a:lnTo>
                  <a:pt x="803" y="437"/>
                </a:lnTo>
                <a:lnTo>
                  <a:pt x="820" y="442"/>
                </a:lnTo>
                <a:lnTo>
                  <a:pt x="828" y="444"/>
                </a:lnTo>
                <a:lnTo>
                  <a:pt x="838" y="444"/>
                </a:lnTo>
                <a:lnTo>
                  <a:pt x="842" y="444"/>
                </a:lnTo>
                <a:lnTo>
                  <a:pt x="845" y="441"/>
                </a:lnTo>
                <a:lnTo>
                  <a:pt x="848" y="437"/>
                </a:lnTo>
                <a:lnTo>
                  <a:pt x="852" y="434"/>
                </a:lnTo>
                <a:lnTo>
                  <a:pt x="857" y="426"/>
                </a:lnTo>
                <a:lnTo>
                  <a:pt x="862" y="416"/>
                </a:lnTo>
                <a:lnTo>
                  <a:pt x="864" y="407"/>
                </a:lnTo>
                <a:lnTo>
                  <a:pt x="864" y="397"/>
                </a:lnTo>
                <a:lnTo>
                  <a:pt x="862" y="387"/>
                </a:lnTo>
                <a:lnTo>
                  <a:pt x="858" y="378"/>
                </a:lnTo>
                <a:lnTo>
                  <a:pt x="855" y="367"/>
                </a:lnTo>
                <a:lnTo>
                  <a:pt x="850" y="357"/>
                </a:lnTo>
                <a:lnTo>
                  <a:pt x="837" y="328"/>
                </a:lnTo>
                <a:lnTo>
                  <a:pt x="828" y="299"/>
                </a:lnTo>
                <a:lnTo>
                  <a:pt x="825" y="286"/>
                </a:lnTo>
                <a:lnTo>
                  <a:pt x="823" y="272"/>
                </a:lnTo>
                <a:lnTo>
                  <a:pt x="823" y="259"/>
                </a:lnTo>
                <a:lnTo>
                  <a:pt x="826" y="247"/>
                </a:lnTo>
                <a:lnTo>
                  <a:pt x="826" y="232"/>
                </a:lnTo>
                <a:lnTo>
                  <a:pt x="826" y="215"/>
                </a:lnTo>
                <a:lnTo>
                  <a:pt x="816" y="220"/>
                </a:lnTo>
                <a:lnTo>
                  <a:pt x="808" y="222"/>
                </a:lnTo>
                <a:lnTo>
                  <a:pt x="796" y="224"/>
                </a:lnTo>
                <a:lnTo>
                  <a:pt x="784" y="222"/>
                </a:lnTo>
                <a:lnTo>
                  <a:pt x="776" y="222"/>
                </a:lnTo>
                <a:lnTo>
                  <a:pt x="771" y="224"/>
                </a:lnTo>
                <a:lnTo>
                  <a:pt x="766" y="227"/>
                </a:lnTo>
                <a:lnTo>
                  <a:pt x="761" y="232"/>
                </a:lnTo>
                <a:lnTo>
                  <a:pt x="756" y="242"/>
                </a:lnTo>
                <a:lnTo>
                  <a:pt x="751" y="249"/>
                </a:lnTo>
                <a:lnTo>
                  <a:pt x="744" y="254"/>
                </a:lnTo>
                <a:lnTo>
                  <a:pt x="737" y="256"/>
                </a:lnTo>
                <a:lnTo>
                  <a:pt x="734" y="256"/>
                </a:lnTo>
                <a:lnTo>
                  <a:pt x="731" y="254"/>
                </a:lnTo>
                <a:lnTo>
                  <a:pt x="727" y="252"/>
                </a:lnTo>
                <a:lnTo>
                  <a:pt x="725" y="249"/>
                </a:lnTo>
                <a:lnTo>
                  <a:pt x="722" y="240"/>
                </a:lnTo>
                <a:lnTo>
                  <a:pt x="720" y="229"/>
                </a:lnTo>
                <a:lnTo>
                  <a:pt x="724" y="213"/>
                </a:lnTo>
                <a:lnTo>
                  <a:pt x="727" y="198"/>
                </a:lnTo>
                <a:lnTo>
                  <a:pt x="736" y="186"/>
                </a:lnTo>
                <a:lnTo>
                  <a:pt x="746" y="176"/>
                </a:lnTo>
                <a:lnTo>
                  <a:pt x="751" y="171"/>
                </a:lnTo>
                <a:lnTo>
                  <a:pt x="757" y="168"/>
                </a:lnTo>
                <a:lnTo>
                  <a:pt x="763" y="165"/>
                </a:lnTo>
                <a:lnTo>
                  <a:pt x="769" y="161"/>
                </a:lnTo>
                <a:lnTo>
                  <a:pt x="784" y="158"/>
                </a:lnTo>
                <a:lnTo>
                  <a:pt x="801" y="156"/>
                </a:lnTo>
                <a:lnTo>
                  <a:pt x="806" y="154"/>
                </a:lnTo>
                <a:lnTo>
                  <a:pt x="810" y="151"/>
                </a:lnTo>
                <a:lnTo>
                  <a:pt x="811" y="146"/>
                </a:lnTo>
                <a:lnTo>
                  <a:pt x="813" y="143"/>
                </a:lnTo>
                <a:lnTo>
                  <a:pt x="816" y="131"/>
                </a:lnTo>
                <a:lnTo>
                  <a:pt x="816" y="117"/>
                </a:lnTo>
                <a:lnTo>
                  <a:pt x="816" y="106"/>
                </a:lnTo>
                <a:lnTo>
                  <a:pt x="818" y="94"/>
                </a:lnTo>
                <a:lnTo>
                  <a:pt x="816" y="70"/>
                </a:lnTo>
                <a:lnTo>
                  <a:pt x="816" y="45"/>
                </a:lnTo>
                <a:close/>
              </a:path>
            </a:pathLst>
          </a:custGeom>
          <a:solidFill>
            <a:srgbClr val="CCECFF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067" name="Oval 29"/>
          <p:cNvSpPr>
            <a:spLocks noChangeAspect="1" noChangeArrowheads="1"/>
          </p:cNvSpPr>
          <p:nvPr>
            <p:custDataLst>
              <p:tags r:id="rId18"/>
            </p:custDataLst>
          </p:nvPr>
        </p:nvSpPr>
        <p:spPr bwMode="auto">
          <a:xfrm>
            <a:off x="3236913" y="2425700"/>
            <a:ext cx="57150" cy="55563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068" name="Oval 30"/>
          <p:cNvSpPr>
            <a:spLocks noChangeAspect="1" noChangeArrowheads="1"/>
          </p:cNvSpPr>
          <p:nvPr>
            <p:custDataLst>
              <p:tags r:id="rId19"/>
            </p:custDataLst>
          </p:nvPr>
        </p:nvSpPr>
        <p:spPr bwMode="auto">
          <a:xfrm>
            <a:off x="2252663" y="2871788"/>
            <a:ext cx="58737" cy="55562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069" name="Oval 31"/>
          <p:cNvSpPr>
            <a:spLocks noChangeAspect="1" noChangeArrowheads="1"/>
          </p:cNvSpPr>
          <p:nvPr>
            <p:custDataLst>
              <p:tags r:id="rId20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070" name="Oval 32"/>
          <p:cNvSpPr>
            <a:spLocks noChangeAspect="1" noChangeArrowheads="1"/>
          </p:cNvSpPr>
          <p:nvPr>
            <p:custDataLst>
              <p:tags r:id="rId21"/>
            </p:custDataLst>
          </p:nvPr>
        </p:nvSpPr>
        <p:spPr bwMode="auto">
          <a:xfrm>
            <a:off x="3862388" y="2690813"/>
            <a:ext cx="58737" cy="53975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071" name="Oval 33"/>
          <p:cNvSpPr>
            <a:spLocks noChangeAspect="1" noChangeArrowheads="1"/>
          </p:cNvSpPr>
          <p:nvPr>
            <p:custDataLst>
              <p:tags r:id="rId22"/>
            </p:custDataLst>
          </p:nvPr>
        </p:nvSpPr>
        <p:spPr bwMode="auto">
          <a:xfrm>
            <a:off x="3243263" y="3017838"/>
            <a:ext cx="57150" cy="57150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072" name="Text Box 40"/>
          <p:cNvSpPr txBox="1">
            <a:spLocks noChangeAspect="1" noChangeArrowheads="1"/>
          </p:cNvSpPr>
          <p:nvPr>
            <p:custDataLst>
              <p:tags r:id="rId23"/>
            </p:custDataLst>
          </p:nvPr>
        </p:nvSpPr>
        <p:spPr bwMode="auto">
          <a:xfrm>
            <a:off x="5651500" y="4810125"/>
            <a:ext cx="7143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b="1"/>
              <a:t>Беринговский</a:t>
            </a:r>
          </a:p>
        </p:txBody>
      </p:sp>
      <p:sp>
        <p:nvSpPr>
          <p:cNvPr id="2073" name="Text Box 41"/>
          <p:cNvSpPr txBox="1">
            <a:spLocks noChangeAspect="1" noChangeArrowheads="1"/>
          </p:cNvSpPr>
          <p:nvPr>
            <p:custDataLst>
              <p:tags r:id="rId24"/>
            </p:custDataLst>
          </p:nvPr>
        </p:nvSpPr>
        <p:spPr bwMode="auto">
          <a:xfrm>
            <a:off x="5786438" y="2876550"/>
            <a:ext cx="5826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900" b="1"/>
              <a:t>Эгвекинот</a:t>
            </a:r>
          </a:p>
        </p:txBody>
      </p:sp>
      <p:sp>
        <p:nvSpPr>
          <p:cNvPr id="2074" name="Text Box 42"/>
          <p:cNvSpPr txBox="1">
            <a:spLocks noChangeAspect="1" noChangeArrowheads="1"/>
          </p:cNvSpPr>
          <p:nvPr>
            <p:custDataLst>
              <p:tags r:id="rId25"/>
            </p:custDataLst>
          </p:nvPr>
        </p:nvSpPr>
        <p:spPr bwMode="auto">
          <a:xfrm>
            <a:off x="3289300" y="2306638"/>
            <a:ext cx="573088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900" b="1"/>
              <a:t>Билибино</a:t>
            </a:r>
          </a:p>
        </p:txBody>
      </p:sp>
      <p:sp>
        <p:nvSpPr>
          <p:cNvPr id="2075" name="Text Box 43"/>
          <p:cNvSpPr txBox="1">
            <a:spLocks noChangeAspect="1" noChangeArrowheads="1"/>
          </p:cNvSpPr>
          <p:nvPr>
            <p:custDataLst>
              <p:tags r:id="rId26"/>
            </p:custDataLst>
          </p:nvPr>
        </p:nvSpPr>
        <p:spPr bwMode="auto">
          <a:xfrm>
            <a:off x="3713163" y="1450975"/>
            <a:ext cx="3556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900" b="1"/>
              <a:t>Певек</a:t>
            </a:r>
          </a:p>
        </p:txBody>
      </p:sp>
      <p:sp>
        <p:nvSpPr>
          <p:cNvPr id="2076" name="Text Box 44"/>
          <p:cNvSpPr txBox="1">
            <a:spLocks noChangeAspect="1" noChangeArrowheads="1"/>
          </p:cNvSpPr>
          <p:nvPr>
            <p:custDataLst>
              <p:tags r:id="rId27"/>
            </p:custDataLst>
          </p:nvPr>
        </p:nvSpPr>
        <p:spPr bwMode="auto">
          <a:xfrm>
            <a:off x="2706688" y="2454275"/>
            <a:ext cx="579437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Каральвеем</a:t>
            </a:r>
          </a:p>
        </p:txBody>
      </p:sp>
      <p:sp>
        <p:nvSpPr>
          <p:cNvPr id="2077" name="Text Box 45"/>
          <p:cNvSpPr txBox="1">
            <a:spLocks noChangeAspect="1" noChangeArrowheads="1"/>
          </p:cNvSpPr>
          <p:nvPr>
            <p:custDataLst>
              <p:tags r:id="rId28"/>
            </p:custDataLst>
          </p:nvPr>
        </p:nvSpPr>
        <p:spPr bwMode="auto">
          <a:xfrm>
            <a:off x="3876675" y="2570163"/>
            <a:ext cx="404813" cy="122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Двойное</a:t>
            </a:r>
          </a:p>
        </p:txBody>
      </p:sp>
      <p:sp>
        <p:nvSpPr>
          <p:cNvPr id="2078" name="Text Box 46"/>
          <p:cNvSpPr txBox="1">
            <a:spLocks noChangeAspect="1" noChangeArrowheads="1"/>
          </p:cNvSpPr>
          <p:nvPr>
            <p:custDataLst>
              <p:tags r:id="rId29"/>
            </p:custDataLst>
          </p:nvPr>
        </p:nvSpPr>
        <p:spPr bwMode="auto">
          <a:xfrm>
            <a:off x="5580063" y="3106738"/>
            <a:ext cx="595312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Валунистое</a:t>
            </a:r>
          </a:p>
        </p:txBody>
      </p:sp>
      <p:sp>
        <p:nvSpPr>
          <p:cNvPr id="2079" name="Freeform 47"/>
          <p:cNvSpPr>
            <a:spLocks noChangeAspect="1"/>
          </p:cNvSpPr>
          <p:nvPr>
            <p:custDataLst>
              <p:tags r:id="rId30"/>
            </p:custDataLst>
          </p:nvPr>
        </p:nvSpPr>
        <p:spPr bwMode="auto">
          <a:xfrm rot="-7298297">
            <a:off x="4625181" y="3661570"/>
            <a:ext cx="1184275" cy="868362"/>
          </a:xfrm>
          <a:custGeom>
            <a:avLst/>
            <a:gdLst>
              <a:gd name="T0" fmla="*/ 2147483647 w 394"/>
              <a:gd name="T1" fmla="*/ 2147483647 h 307"/>
              <a:gd name="T2" fmla="*/ 2147483647 w 394"/>
              <a:gd name="T3" fmla="*/ 2147483647 h 307"/>
              <a:gd name="T4" fmla="*/ 2147483647 w 394"/>
              <a:gd name="T5" fmla="*/ 2147483647 h 307"/>
              <a:gd name="T6" fmla="*/ 2147483647 w 394"/>
              <a:gd name="T7" fmla="*/ 2147483647 h 307"/>
              <a:gd name="T8" fmla="*/ 2147483647 w 394"/>
              <a:gd name="T9" fmla="*/ 2147483647 h 307"/>
              <a:gd name="T10" fmla="*/ 2147483647 w 394"/>
              <a:gd name="T11" fmla="*/ 2147483647 h 307"/>
              <a:gd name="T12" fmla="*/ 2147483647 w 394"/>
              <a:gd name="T13" fmla="*/ 2147483647 h 307"/>
              <a:gd name="T14" fmla="*/ 2147483647 w 394"/>
              <a:gd name="T15" fmla="*/ 2147483647 h 307"/>
              <a:gd name="T16" fmla="*/ 2147483647 w 394"/>
              <a:gd name="T17" fmla="*/ 2147483647 h 307"/>
              <a:gd name="T18" fmla="*/ 2147483647 w 394"/>
              <a:gd name="T19" fmla="*/ 0 h 307"/>
              <a:gd name="T20" fmla="*/ 2147483647 w 394"/>
              <a:gd name="T21" fmla="*/ 2147483647 h 307"/>
              <a:gd name="T22" fmla="*/ 2147483647 w 394"/>
              <a:gd name="T23" fmla="*/ 2147483647 h 307"/>
              <a:gd name="T24" fmla="*/ 2147483647 w 394"/>
              <a:gd name="T25" fmla="*/ 2147483647 h 307"/>
              <a:gd name="T26" fmla="*/ 2147483647 w 394"/>
              <a:gd name="T27" fmla="*/ 2147483647 h 307"/>
              <a:gd name="T28" fmla="*/ 2147483647 w 394"/>
              <a:gd name="T29" fmla="*/ 2147483647 h 307"/>
              <a:gd name="T30" fmla="*/ 2147483647 w 394"/>
              <a:gd name="T31" fmla="*/ 2147483647 h 307"/>
              <a:gd name="T32" fmla="*/ 2147483647 w 394"/>
              <a:gd name="T33" fmla="*/ 2147483647 h 307"/>
              <a:gd name="T34" fmla="*/ 2147483647 w 394"/>
              <a:gd name="T35" fmla="*/ 2147483647 h 307"/>
              <a:gd name="T36" fmla="*/ 2147483647 w 394"/>
              <a:gd name="T37" fmla="*/ 2147483647 h 307"/>
              <a:gd name="T38" fmla="*/ 2147483647 w 394"/>
              <a:gd name="T39" fmla="*/ 2147483647 h 307"/>
              <a:gd name="T40" fmla="*/ 2147483647 w 394"/>
              <a:gd name="T41" fmla="*/ 2147483647 h 307"/>
              <a:gd name="T42" fmla="*/ 2147483647 w 394"/>
              <a:gd name="T43" fmla="*/ 2147483647 h 307"/>
              <a:gd name="T44" fmla="*/ 2147483647 w 394"/>
              <a:gd name="T45" fmla="*/ 2147483647 h 307"/>
              <a:gd name="T46" fmla="*/ 2147483647 w 394"/>
              <a:gd name="T47" fmla="*/ 2147483647 h 307"/>
              <a:gd name="T48" fmla="*/ 2147483647 w 394"/>
              <a:gd name="T49" fmla="*/ 2147483647 h 307"/>
              <a:gd name="T50" fmla="*/ 2147483647 w 394"/>
              <a:gd name="T51" fmla="*/ 2147483647 h 307"/>
              <a:gd name="T52" fmla="*/ 2147483647 w 394"/>
              <a:gd name="T53" fmla="*/ 2147483647 h 307"/>
              <a:gd name="T54" fmla="*/ 2147483647 w 394"/>
              <a:gd name="T55" fmla="*/ 2147483647 h 307"/>
              <a:gd name="T56" fmla="*/ 2147483647 w 394"/>
              <a:gd name="T57" fmla="*/ 2147483647 h 307"/>
              <a:gd name="T58" fmla="*/ 2147483647 w 394"/>
              <a:gd name="T59" fmla="*/ 2147483647 h 307"/>
              <a:gd name="T60" fmla="*/ 2147483647 w 394"/>
              <a:gd name="T61" fmla="*/ 2147483647 h 307"/>
              <a:gd name="T62" fmla="*/ 2147483647 w 394"/>
              <a:gd name="T63" fmla="*/ 2147483647 h 307"/>
              <a:gd name="T64" fmla="*/ 2147483647 w 394"/>
              <a:gd name="T65" fmla="*/ 2147483647 h 307"/>
              <a:gd name="T66" fmla="*/ 2147483647 w 394"/>
              <a:gd name="T67" fmla="*/ 2147483647 h 307"/>
              <a:gd name="T68" fmla="*/ 2147483647 w 394"/>
              <a:gd name="T69" fmla="*/ 2147483647 h 307"/>
              <a:gd name="T70" fmla="*/ 2147483647 w 394"/>
              <a:gd name="T71" fmla="*/ 2147483647 h 307"/>
              <a:gd name="T72" fmla="*/ 2147483647 w 394"/>
              <a:gd name="T73" fmla="*/ 2147483647 h 307"/>
              <a:gd name="T74" fmla="*/ 2147483647 w 394"/>
              <a:gd name="T75" fmla="*/ 2147483647 h 307"/>
              <a:gd name="T76" fmla="*/ 2147483647 w 394"/>
              <a:gd name="T77" fmla="*/ 2147483647 h 307"/>
              <a:gd name="T78" fmla="*/ 2147483647 w 394"/>
              <a:gd name="T79" fmla="*/ 2147483647 h 307"/>
              <a:gd name="T80" fmla="*/ 2147483647 w 394"/>
              <a:gd name="T81" fmla="*/ 2147483647 h 307"/>
              <a:gd name="T82" fmla="*/ 2147483647 w 394"/>
              <a:gd name="T83" fmla="*/ 2147483647 h 307"/>
              <a:gd name="T84" fmla="*/ 2147483647 w 394"/>
              <a:gd name="T85" fmla="*/ 2147483647 h 307"/>
              <a:gd name="T86" fmla="*/ 2147483647 w 394"/>
              <a:gd name="T87" fmla="*/ 2147483647 h 307"/>
              <a:gd name="T88" fmla="*/ 0 w 394"/>
              <a:gd name="T89" fmla="*/ 2147483647 h 307"/>
              <a:gd name="T90" fmla="*/ 2147483647 w 394"/>
              <a:gd name="T91" fmla="*/ 2147483647 h 307"/>
              <a:gd name="T92" fmla="*/ 2147483647 w 394"/>
              <a:gd name="T93" fmla="*/ 2147483647 h 307"/>
              <a:gd name="T94" fmla="*/ 2147483647 w 394"/>
              <a:gd name="T95" fmla="*/ 2147483647 h 307"/>
              <a:gd name="T96" fmla="*/ 2147483647 w 394"/>
              <a:gd name="T97" fmla="*/ 2147483647 h 307"/>
              <a:gd name="T98" fmla="*/ 2147483647 w 394"/>
              <a:gd name="T99" fmla="*/ 2147483647 h 307"/>
              <a:gd name="T100" fmla="*/ 2147483647 w 394"/>
              <a:gd name="T101" fmla="*/ 2147483647 h 307"/>
              <a:gd name="T102" fmla="*/ 2147483647 w 394"/>
              <a:gd name="T103" fmla="*/ 2147483647 h 307"/>
              <a:gd name="T104" fmla="*/ 2147483647 w 394"/>
              <a:gd name="T105" fmla="*/ 2147483647 h 307"/>
              <a:gd name="T106" fmla="*/ 2147483647 w 394"/>
              <a:gd name="T107" fmla="*/ 2147483647 h 307"/>
              <a:gd name="T108" fmla="*/ 2147483647 w 394"/>
              <a:gd name="T109" fmla="*/ 2147483647 h 307"/>
              <a:gd name="T110" fmla="*/ 2147483647 w 394"/>
              <a:gd name="T111" fmla="*/ 2147483647 h 307"/>
              <a:gd name="T112" fmla="*/ 2147483647 w 394"/>
              <a:gd name="T113" fmla="*/ 2147483647 h 307"/>
              <a:gd name="T114" fmla="*/ 2147483647 w 394"/>
              <a:gd name="T115" fmla="*/ 2147483647 h 307"/>
              <a:gd name="T116" fmla="*/ 2147483647 w 394"/>
              <a:gd name="T117" fmla="*/ 2147483647 h 307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394"/>
              <a:gd name="T178" fmla="*/ 0 h 307"/>
              <a:gd name="T179" fmla="*/ 394 w 394"/>
              <a:gd name="T180" fmla="*/ 307 h 307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394" h="307">
                <a:moveTo>
                  <a:pt x="118" y="43"/>
                </a:moveTo>
                <a:lnTo>
                  <a:pt x="120" y="37"/>
                </a:lnTo>
                <a:lnTo>
                  <a:pt x="121" y="34"/>
                </a:lnTo>
                <a:lnTo>
                  <a:pt x="125" y="31"/>
                </a:lnTo>
                <a:lnTo>
                  <a:pt x="130" y="27"/>
                </a:lnTo>
                <a:lnTo>
                  <a:pt x="140" y="26"/>
                </a:lnTo>
                <a:lnTo>
                  <a:pt x="152" y="24"/>
                </a:lnTo>
                <a:lnTo>
                  <a:pt x="165" y="22"/>
                </a:lnTo>
                <a:lnTo>
                  <a:pt x="179" y="21"/>
                </a:lnTo>
                <a:lnTo>
                  <a:pt x="189" y="19"/>
                </a:lnTo>
                <a:lnTo>
                  <a:pt x="195" y="14"/>
                </a:lnTo>
                <a:lnTo>
                  <a:pt x="179" y="12"/>
                </a:lnTo>
                <a:lnTo>
                  <a:pt x="162" y="11"/>
                </a:lnTo>
                <a:lnTo>
                  <a:pt x="160" y="9"/>
                </a:lnTo>
                <a:lnTo>
                  <a:pt x="160" y="7"/>
                </a:lnTo>
                <a:lnTo>
                  <a:pt x="163" y="5"/>
                </a:lnTo>
                <a:lnTo>
                  <a:pt x="167" y="5"/>
                </a:lnTo>
                <a:lnTo>
                  <a:pt x="184" y="4"/>
                </a:lnTo>
                <a:lnTo>
                  <a:pt x="209" y="2"/>
                </a:lnTo>
                <a:lnTo>
                  <a:pt x="233" y="0"/>
                </a:lnTo>
                <a:lnTo>
                  <a:pt x="256" y="2"/>
                </a:lnTo>
                <a:lnTo>
                  <a:pt x="268" y="4"/>
                </a:lnTo>
                <a:lnTo>
                  <a:pt x="280" y="5"/>
                </a:lnTo>
                <a:lnTo>
                  <a:pt x="291" y="11"/>
                </a:lnTo>
                <a:lnTo>
                  <a:pt x="303" y="14"/>
                </a:lnTo>
                <a:lnTo>
                  <a:pt x="308" y="16"/>
                </a:lnTo>
                <a:lnTo>
                  <a:pt x="315" y="19"/>
                </a:lnTo>
                <a:lnTo>
                  <a:pt x="322" y="24"/>
                </a:lnTo>
                <a:lnTo>
                  <a:pt x="327" y="29"/>
                </a:lnTo>
                <a:lnTo>
                  <a:pt x="339" y="41"/>
                </a:lnTo>
                <a:lnTo>
                  <a:pt x="352" y="59"/>
                </a:lnTo>
                <a:lnTo>
                  <a:pt x="360" y="66"/>
                </a:lnTo>
                <a:lnTo>
                  <a:pt x="369" y="71"/>
                </a:lnTo>
                <a:lnTo>
                  <a:pt x="372" y="71"/>
                </a:lnTo>
                <a:lnTo>
                  <a:pt x="376" y="71"/>
                </a:lnTo>
                <a:lnTo>
                  <a:pt x="381" y="69"/>
                </a:lnTo>
                <a:lnTo>
                  <a:pt x="384" y="68"/>
                </a:lnTo>
                <a:lnTo>
                  <a:pt x="389" y="76"/>
                </a:lnTo>
                <a:lnTo>
                  <a:pt x="392" y="85"/>
                </a:lnTo>
                <a:lnTo>
                  <a:pt x="394" y="95"/>
                </a:lnTo>
                <a:lnTo>
                  <a:pt x="394" y="103"/>
                </a:lnTo>
                <a:lnTo>
                  <a:pt x="392" y="112"/>
                </a:lnTo>
                <a:lnTo>
                  <a:pt x="387" y="122"/>
                </a:lnTo>
                <a:lnTo>
                  <a:pt x="379" y="130"/>
                </a:lnTo>
                <a:lnTo>
                  <a:pt x="369" y="139"/>
                </a:lnTo>
                <a:lnTo>
                  <a:pt x="365" y="147"/>
                </a:lnTo>
                <a:lnTo>
                  <a:pt x="359" y="154"/>
                </a:lnTo>
                <a:lnTo>
                  <a:pt x="349" y="160"/>
                </a:lnTo>
                <a:lnTo>
                  <a:pt x="334" y="164"/>
                </a:lnTo>
                <a:lnTo>
                  <a:pt x="327" y="174"/>
                </a:lnTo>
                <a:lnTo>
                  <a:pt x="317" y="181"/>
                </a:lnTo>
                <a:lnTo>
                  <a:pt x="312" y="182"/>
                </a:lnTo>
                <a:lnTo>
                  <a:pt x="307" y="184"/>
                </a:lnTo>
                <a:lnTo>
                  <a:pt x="302" y="184"/>
                </a:lnTo>
                <a:lnTo>
                  <a:pt x="295" y="184"/>
                </a:lnTo>
                <a:lnTo>
                  <a:pt x="278" y="192"/>
                </a:lnTo>
                <a:lnTo>
                  <a:pt x="263" y="203"/>
                </a:lnTo>
                <a:lnTo>
                  <a:pt x="249" y="214"/>
                </a:lnTo>
                <a:lnTo>
                  <a:pt x="236" y="226"/>
                </a:lnTo>
                <a:lnTo>
                  <a:pt x="217" y="236"/>
                </a:lnTo>
                <a:lnTo>
                  <a:pt x="202" y="243"/>
                </a:lnTo>
                <a:lnTo>
                  <a:pt x="197" y="243"/>
                </a:lnTo>
                <a:lnTo>
                  <a:pt x="194" y="243"/>
                </a:lnTo>
                <a:lnTo>
                  <a:pt x="192" y="238"/>
                </a:lnTo>
                <a:lnTo>
                  <a:pt x="195" y="231"/>
                </a:lnTo>
                <a:lnTo>
                  <a:pt x="190" y="228"/>
                </a:lnTo>
                <a:lnTo>
                  <a:pt x="179" y="224"/>
                </a:lnTo>
                <a:lnTo>
                  <a:pt x="162" y="221"/>
                </a:lnTo>
                <a:lnTo>
                  <a:pt x="143" y="218"/>
                </a:lnTo>
                <a:lnTo>
                  <a:pt x="128" y="238"/>
                </a:lnTo>
                <a:lnTo>
                  <a:pt x="115" y="256"/>
                </a:lnTo>
                <a:lnTo>
                  <a:pt x="108" y="265"/>
                </a:lnTo>
                <a:lnTo>
                  <a:pt x="101" y="268"/>
                </a:lnTo>
                <a:lnTo>
                  <a:pt x="98" y="270"/>
                </a:lnTo>
                <a:lnTo>
                  <a:pt x="94" y="270"/>
                </a:lnTo>
                <a:lnTo>
                  <a:pt x="93" y="268"/>
                </a:lnTo>
                <a:lnTo>
                  <a:pt x="89" y="266"/>
                </a:lnTo>
                <a:lnTo>
                  <a:pt x="81" y="266"/>
                </a:lnTo>
                <a:lnTo>
                  <a:pt x="73" y="268"/>
                </a:lnTo>
                <a:lnTo>
                  <a:pt x="66" y="272"/>
                </a:lnTo>
                <a:lnTo>
                  <a:pt x="59" y="278"/>
                </a:lnTo>
                <a:lnTo>
                  <a:pt x="47" y="293"/>
                </a:lnTo>
                <a:lnTo>
                  <a:pt x="36" y="307"/>
                </a:lnTo>
                <a:lnTo>
                  <a:pt x="34" y="295"/>
                </a:lnTo>
                <a:lnTo>
                  <a:pt x="32" y="283"/>
                </a:lnTo>
                <a:lnTo>
                  <a:pt x="22" y="273"/>
                </a:lnTo>
                <a:lnTo>
                  <a:pt x="14" y="261"/>
                </a:lnTo>
                <a:lnTo>
                  <a:pt x="7" y="250"/>
                </a:lnTo>
                <a:lnTo>
                  <a:pt x="2" y="238"/>
                </a:lnTo>
                <a:lnTo>
                  <a:pt x="0" y="228"/>
                </a:lnTo>
                <a:lnTo>
                  <a:pt x="0" y="216"/>
                </a:lnTo>
                <a:lnTo>
                  <a:pt x="2" y="206"/>
                </a:lnTo>
                <a:lnTo>
                  <a:pt x="9" y="194"/>
                </a:lnTo>
                <a:lnTo>
                  <a:pt x="10" y="184"/>
                </a:lnTo>
                <a:lnTo>
                  <a:pt x="12" y="174"/>
                </a:lnTo>
                <a:lnTo>
                  <a:pt x="15" y="167"/>
                </a:lnTo>
                <a:lnTo>
                  <a:pt x="19" y="164"/>
                </a:lnTo>
                <a:lnTo>
                  <a:pt x="24" y="159"/>
                </a:lnTo>
                <a:lnTo>
                  <a:pt x="31" y="155"/>
                </a:lnTo>
                <a:lnTo>
                  <a:pt x="39" y="149"/>
                </a:lnTo>
                <a:lnTo>
                  <a:pt x="46" y="139"/>
                </a:lnTo>
                <a:lnTo>
                  <a:pt x="51" y="127"/>
                </a:lnTo>
                <a:lnTo>
                  <a:pt x="56" y="115"/>
                </a:lnTo>
                <a:lnTo>
                  <a:pt x="59" y="101"/>
                </a:lnTo>
                <a:lnTo>
                  <a:pt x="64" y="91"/>
                </a:lnTo>
                <a:lnTo>
                  <a:pt x="69" y="83"/>
                </a:lnTo>
                <a:lnTo>
                  <a:pt x="78" y="78"/>
                </a:lnTo>
                <a:lnTo>
                  <a:pt x="83" y="78"/>
                </a:lnTo>
                <a:lnTo>
                  <a:pt x="84" y="78"/>
                </a:lnTo>
                <a:lnTo>
                  <a:pt x="88" y="78"/>
                </a:lnTo>
                <a:lnTo>
                  <a:pt x="89" y="76"/>
                </a:lnTo>
                <a:lnTo>
                  <a:pt x="91" y="69"/>
                </a:lnTo>
                <a:lnTo>
                  <a:pt x="91" y="63"/>
                </a:lnTo>
                <a:lnTo>
                  <a:pt x="93" y="56"/>
                </a:lnTo>
                <a:lnTo>
                  <a:pt x="98" y="49"/>
                </a:lnTo>
                <a:lnTo>
                  <a:pt x="101" y="46"/>
                </a:lnTo>
                <a:lnTo>
                  <a:pt x="105" y="44"/>
                </a:lnTo>
                <a:lnTo>
                  <a:pt x="111" y="43"/>
                </a:lnTo>
                <a:lnTo>
                  <a:pt x="118" y="43"/>
                </a:lnTo>
              </a:path>
            </a:pathLst>
          </a:custGeom>
          <a:solidFill>
            <a:srgbClr val="CCECFF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080" name="Text Box 60"/>
          <p:cNvSpPr txBox="1">
            <a:spLocks noChangeAspect="1" noChangeArrowheads="1"/>
          </p:cNvSpPr>
          <p:nvPr>
            <p:custDataLst>
              <p:tags r:id="rId31"/>
            </p:custDataLst>
          </p:nvPr>
        </p:nvSpPr>
        <p:spPr bwMode="auto">
          <a:xfrm>
            <a:off x="5651500" y="4581525"/>
            <a:ext cx="45085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Бухта</a:t>
            </a:r>
          </a:p>
          <a:p>
            <a:pPr algn="ctr"/>
            <a:r>
              <a:rPr lang="ru-RU" sz="800" i="1"/>
              <a:t>Угольная</a:t>
            </a:r>
          </a:p>
        </p:txBody>
      </p:sp>
      <p:sp>
        <p:nvSpPr>
          <p:cNvPr id="2081" name="Oval 61"/>
          <p:cNvSpPr>
            <a:spLocks noChangeAspect="1" noChangeArrowheads="1"/>
          </p:cNvSpPr>
          <p:nvPr>
            <p:custDataLst>
              <p:tags r:id="rId32"/>
            </p:custDataLst>
          </p:nvPr>
        </p:nvSpPr>
        <p:spPr bwMode="auto">
          <a:xfrm>
            <a:off x="3894138" y="3127375"/>
            <a:ext cx="58737" cy="53975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082" name="Oval 62"/>
          <p:cNvSpPr>
            <a:spLocks noChangeAspect="1" noChangeArrowheads="1"/>
          </p:cNvSpPr>
          <p:nvPr>
            <p:custDataLst>
              <p:tags r:id="rId33"/>
            </p:custDataLst>
          </p:nvPr>
        </p:nvSpPr>
        <p:spPr bwMode="auto">
          <a:xfrm rot="-758529">
            <a:off x="4676775" y="1906588"/>
            <a:ext cx="58738" cy="53975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083" name="Oval 63"/>
          <p:cNvSpPr>
            <a:spLocks noChangeAspect="1" noChangeArrowheads="1"/>
          </p:cNvSpPr>
          <p:nvPr>
            <p:custDataLst>
              <p:tags r:id="rId34"/>
            </p:custDataLst>
          </p:nvPr>
        </p:nvSpPr>
        <p:spPr bwMode="auto">
          <a:xfrm>
            <a:off x="5524500" y="3095625"/>
            <a:ext cx="58738" cy="53975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084" name="Oval 64"/>
          <p:cNvSpPr>
            <a:spLocks noChangeAspect="1" noChangeArrowheads="1"/>
          </p:cNvSpPr>
          <p:nvPr>
            <p:custDataLst>
              <p:tags r:id="rId35"/>
            </p:custDataLst>
          </p:nvPr>
        </p:nvSpPr>
        <p:spPr bwMode="auto">
          <a:xfrm>
            <a:off x="5600700" y="4441825"/>
            <a:ext cx="58738" cy="53975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085" name="Oval 65"/>
          <p:cNvSpPr>
            <a:spLocks noChangeAspect="1" noChangeArrowheads="1"/>
          </p:cNvSpPr>
          <p:nvPr>
            <p:custDataLst>
              <p:tags r:id="rId36"/>
            </p:custDataLst>
          </p:nvPr>
        </p:nvSpPr>
        <p:spPr bwMode="auto">
          <a:xfrm>
            <a:off x="5538788" y="4560888"/>
            <a:ext cx="58737" cy="53975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086" name="Oval 67"/>
          <p:cNvSpPr>
            <a:spLocks noChangeAspect="1" noChangeArrowheads="1"/>
          </p:cNvSpPr>
          <p:nvPr>
            <p:custDataLst>
              <p:tags r:id="rId37"/>
            </p:custDataLst>
          </p:nvPr>
        </p:nvSpPr>
        <p:spPr bwMode="auto">
          <a:xfrm>
            <a:off x="4287838" y="1681163"/>
            <a:ext cx="57150" cy="57150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1226824" name="Oval 72"/>
          <p:cNvSpPr>
            <a:spLocks noChangeAspect="1" noChangeArrowheads="1"/>
          </p:cNvSpPr>
          <p:nvPr>
            <p:custDataLst>
              <p:tags r:id="rId38"/>
            </p:custDataLst>
          </p:nvPr>
        </p:nvSpPr>
        <p:spPr bwMode="auto">
          <a:xfrm>
            <a:off x="4564063" y="1954213"/>
            <a:ext cx="207962" cy="201612"/>
          </a:xfrm>
          <a:prstGeom prst="ellipse">
            <a:avLst/>
          </a:prstGeom>
          <a:solidFill>
            <a:srgbClr val="CC0000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088" name="Oval 85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 rot="-1279477">
            <a:off x="1606550" y="1477963"/>
            <a:ext cx="4044950" cy="2074862"/>
          </a:xfrm>
          <a:prstGeom prst="ellipse">
            <a:avLst/>
          </a:prstGeom>
          <a:noFill/>
          <a:ln w="19050">
            <a:solidFill>
              <a:srgbClr val="0066CC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089" name="Oval 87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 rot="-2549471">
            <a:off x="4148138" y="3003550"/>
            <a:ext cx="3033712" cy="2303463"/>
          </a:xfrm>
          <a:prstGeom prst="ellipse">
            <a:avLst/>
          </a:prstGeom>
          <a:noFill/>
          <a:ln w="19050">
            <a:solidFill>
              <a:srgbClr val="0066CC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1226841" name="Oval 89"/>
          <p:cNvSpPr>
            <a:spLocks noChangeAspect="1" noChangeArrowheads="1"/>
          </p:cNvSpPr>
          <p:nvPr>
            <p:custDataLst>
              <p:tags r:id="rId41"/>
            </p:custDataLst>
          </p:nvPr>
        </p:nvSpPr>
        <p:spPr bwMode="auto">
          <a:xfrm>
            <a:off x="3030538" y="2252663"/>
            <a:ext cx="207962" cy="203200"/>
          </a:xfrm>
          <a:prstGeom prst="ellipse">
            <a:avLst/>
          </a:prstGeom>
          <a:solidFill>
            <a:srgbClr val="CC0000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091" name="Text Box 90"/>
          <p:cNvSpPr txBox="1">
            <a:spLocks noChangeAspect="1" noChangeArrowheads="1"/>
          </p:cNvSpPr>
          <p:nvPr>
            <p:custDataLst>
              <p:tags r:id="rId42"/>
            </p:custDataLst>
          </p:nvPr>
        </p:nvSpPr>
        <p:spPr bwMode="auto">
          <a:xfrm>
            <a:off x="4762500" y="1890713"/>
            <a:ext cx="407988" cy="122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Майское</a:t>
            </a:r>
          </a:p>
        </p:txBody>
      </p:sp>
      <p:sp>
        <p:nvSpPr>
          <p:cNvPr id="1226845" name="Rectangle 93"/>
          <p:cNvSpPr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5772150" y="3822700"/>
            <a:ext cx="195263" cy="161925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093" name="Text Box 74"/>
          <p:cNvSpPr txBox="1">
            <a:spLocks noChangeAspect="1" noChangeArrowheads="1"/>
          </p:cNvSpPr>
          <p:nvPr>
            <p:custDataLst>
              <p:tags r:id="rId44"/>
            </p:custDataLst>
          </p:nvPr>
        </p:nvSpPr>
        <p:spPr bwMode="auto">
          <a:xfrm>
            <a:off x="4552950" y="4294188"/>
            <a:ext cx="844550" cy="122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Западно-Озерное</a:t>
            </a:r>
          </a:p>
        </p:txBody>
      </p:sp>
      <p:sp>
        <p:nvSpPr>
          <p:cNvPr id="2094" name="Text Box 75"/>
          <p:cNvSpPr txBox="1">
            <a:spLocks noChangeAspect="1" noChangeArrowheads="1"/>
          </p:cNvSpPr>
          <p:nvPr>
            <p:custDataLst>
              <p:tags r:id="rId45"/>
            </p:custDataLst>
          </p:nvPr>
        </p:nvSpPr>
        <p:spPr bwMode="auto">
          <a:xfrm>
            <a:off x="4376738" y="4475163"/>
            <a:ext cx="987425" cy="122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Верхне-Телекайское</a:t>
            </a:r>
          </a:p>
        </p:txBody>
      </p:sp>
      <p:sp>
        <p:nvSpPr>
          <p:cNvPr id="1226846" name="AutoShape 94"/>
          <p:cNvSpPr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5434013" y="4119563"/>
            <a:ext cx="144462" cy="360362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096" name="Text Box 39"/>
          <p:cNvSpPr txBox="1">
            <a:spLocks noChangeAspect="1" noChangeArrowheads="1"/>
          </p:cNvSpPr>
          <p:nvPr>
            <p:custDataLst>
              <p:tags r:id="rId47"/>
            </p:custDataLst>
          </p:nvPr>
        </p:nvSpPr>
        <p:spPr bwMode="auto">
          <a:xfrm>
            <a:off x="5102225" y="3857625"/>
            <a:ext cx="5826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1000" b="1"/>
              <a:t>Анадырь</a:t>
            </a:r>
          </a:p>
        </p:txBody>
      </p:sp>
      <p:graphicFrame>
        <p:nvGraphicFramePr>
          <p:cNvPr id="2050" name="AutoShape 2"/>
          <p:cNvGraphicFramePr>
            <a:graphicFrameLocks/>
          </p:cNvGraphicFramePr>
          <p:nvPr>
            <p:custDataLst>
              <p:tags r:id="rId4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r:id="rId96" imgW="0" imgH="0" progId="">
                  <p:embed/>
                </p:oleObj>
              </mc:Choice>
              <mc:Fallback>
                <p:oleObj r:id="rId96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97" name="Text Box 157"/>
          <p:cNvSpPr txBox="1">
            <a:spLocks noChangeAspect="1" noChangeArrowheads="1"/>
          </p:cNvSpPr>
          <p:nvPr>
            <p:custDataLst>
              <p:tags r:id="rId49"/>
            </p:custDataLst>
          </p:nvPr>
        </p:nvSpPr>
        <p:spPr bwMode="auto">
          <a:xfrm>
            <a:off x="4160838" y="1444625"/>
            <a:ext cx="6731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Пыркакайское</a:t>
            </a:r>
          </a:p>
        </p:txBody>
      </p:sp>
      <p:sp>
        <p:nvSpPr>
          <p:cNvPr id="2098" name="Oval 158"/>
          <p:cNvSpPr>
            <a:spLocks noChangeAspect="1" noChangeArrowheads="1"/>
          </p:cNvSpPr>
          <p:nvPr>
            <p:custDataLst>
              <p:tags r:id="rId50"/>
            </p:custDataLst>
          </p:nvPr>
        </p:nvSpPr>
        <p:spPr bwMode="auto">
          <a:xfrm>
            <a:off x="2930525" y="3292475"/>
            <a:ext cx="58738" cy="55563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099" name="Text Box 159"/>
          <p:cNvSpPr txBox="1">
            <a:spLocks noChangeAspect="1" noChangeArrowheads="1"/>
          </p:cNvSpPr>
          <p:nvPr>
            <p:custDataLst>
              <p:tags r:id="rId51"/>
            </p:custDataLst>
          </p:nvPr>
        </p:nvSpPr>
        <p:spPr bwMode="auto">
          <a:xfrm>
            <a:off x="2868613" y="3346450"/>
            <a:ext cx="450850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Песчанка</a:t>
            </a:r>
          </a:p>
        </p:txBody>
      </p:sp>
      <p:sp>
        <p:nvSpPr>
          <p:cNvPr id="3" name="Rectangle 93"/>
          <p:cNvSpPr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6084888" y="4562475"/>
            <a:ext cx="195262" cy="161925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Rectangle 93"/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6032500" y="4922838"/>
            <a:ext cx="195263" cy="161925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102" name="Text Box 74"/>
          <p:cNvSpPr txBox="1">
            <a:spLocks noChangeAspect="1" noChangeArrowheads="1"/>
          </p:cNvSpPr>
          <p:nvPr>
            <p:custDataLst>
              <p:tags r:id="rId54"/>
            </p:custDataLst>
          </p:nvPr>
        </p:nvSpPr>
        <p:spPr bwMode="auto">
          <a:xfrm>
            <a:off x="5651500" y="5084763"/>
            <a:ext cx="534988" cy="122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Амаамское</a:t>
            </a:r>
          </a:p>
        </p:txBody>
      </p:sp>
      <p:sp>
        <p:nvSpPr>
          <p:cNvPr id="9" name="Oval 77"/>
          <p:cNvSpPr>
            <a:spLocks noChangeAspect="1" noChangeArrowheads="1"/>
          </p:cNvSpPr>
          <p:nvPr>
            <p:custDataLst>
              <p:tags r:id="rId55"/>
            </p:custDataLst>
          </p:nvPr>
        </p:nvSpPr>
        <p:spPr bwMode="auto">
          <a:xfrm>
            <a:off x="4337050" y="1558925"/>
            <a:ext cx="225425" cy="219075"/>
          </a:xfrm>
          <a:prstGeom prst="ellipse">
            <a:avLst/>
          </a:prstGeom>
          <a:solidFill>
            <a:srgbClr val="993300">
              <a:alpha val="85001"/>
            </a:srgb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0" name="Oval 72"/>
          <p:cNvSpPr>
            <a:spLocks noChangeAspect="1" noChangeArrowheads="1"/>
          </p:cNvSpPr>
          <p:nvPr>
            <p:custDataLst>
              <p:tags r:id="rId56"/>
            </p:custDataLst>
          </p:nvPr>
        </p:nvSpPr>
        <p:spPr bwMode="auto">
          <a:xfrm>
            <a:off x="5065713" y="1431925"/>
            <a:ext cx="207962" cy="201613"/>
          </a:xfrm>
          <a:prstGeom prst="ellipse">
            <a:avLst/>
          </a:prstGeom>
          <a:solidFill>
            <a:srgbClr val="CC0000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105" name="Oval 33"/>
          <p:cNvSpPr>
            <a:spLocks noChangeAspect="1" noChangeArrowheads="1"/>
          </p:cNvSpPr>
          <p:nvPr>
            <p:custDataLst>
              <p:tags r:id="rId57"/>
            </p:custDataLst>
          </p:nvPr>
        </p:nvSpPr>
        <p:spPr bwMode="auto">
          <a:xfrm>
            <a:off x="5276850" y="1585913"/>
            <a:ext cx="57150" cy="57150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106" name="Text Box 90"/>
          <p:cNvSpPr txBox="1">
            <a:spLocks noChangeAspect="1" noChangeArrowheads="1"/>
          </p:cNvSpPr>
          <p:nvPr>
            <p:custDataLst>
              <p:tags r:id="rId58"/>
            </p:custDataLst>
          </p:nvPr>
        </p:nvSpPr>
        <p:spPr bwMode="auto">
          <a:xfrm>
            <a:off x="5041900" y="1628775"/>
            <a:ext cx="40957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Совиное</a:t>
            </a:r>
          </a:p>
        </p:txBody>
      </p:sp>
      <p:sp>
        <p:nvSpPr>
          <p:cNvPr id="1226790" name="Oval 38"/>
          <p:cNvSpPr>
            <a:spLocks noChangeAspect="1" noChangeArrowheads="1"/>
          </p:cNvSpPr>
          <p:nvPr>
            <p:custDataLst>
              <p:tags r:id="rId59"/>
            </p:custDataLst>
          </p:nvPr>
        </p:nvSpPr>
        <p:spPr bwMode="auto">
          <a:xfrm>
            <a:off x="3313113" y="2451100"/>
            <a:ext cx="138112" cy="138113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1" name="Oval 38"/>
          <p:cNvSpPr>
            <a:spLocks noChangeAspect="1" noChangeArrowheads="1"/>
          </p:cNvSpPr>
          <p:nvPr>
            <p:custDataLst>
              <p:tags r:id="rId60"/>
            </p:custDataLst>
          </p:nvPr>
        </p:nvSpPr>
        <p:spPr bwMode="auto">
          <a:xfrm>
            <a:off x="5599113" y="3998913"/>
            <a:ext cx="138112" cy="138112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109" name="Text Box 74"/>
          <p:cNvSpPr txBox="1">
            <a:spLocks noChangeAspect="1" noChangeArrowheads="1"/>
          </p:cNvSpPr>
          <p:nvPr>
            <p:custDataLst>
              <p:tags r:id="rId61"/>
            </p:custDataLst>
          </p:nvPr>
        </p:nvSpPr>
        <p:spPr bwMode="auto">
          <a:xfrm>
            <a:off x="5772150" y="3978275"/>
            <a:ext cx="581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Анадырское</a:t>
            </a:r>
          </a:p>
        </p:txBody>
      </p:sp>
      <p:sp>
        <p:nvSpPr>
          <p:cNvPr id="332993" name="Text Box 193"/>
          <p:cNvSpPr txBox="1">
            <a:spLocks noChangeArrowheads="1"/>
          </p:cNvSpPr>
          <p:nvPr/>
        </p:nvSpPr>
        <p:spPr bwMode="auto">
          <a:xfrm>
            <a:off x="2276475" y="2598738"/>
            <a:ext cx="13462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000">
                <a:solidFill>
                  <a:schemeClr val="bg1"/>
                </a:solidFill>
                <a:cs typeface="Arial" pitchFamily="34" charset="0"/>
              </a:rPr>
              <a:t>Б и л и б и н с к и й </a:t>
            </a:r>
          </a:p>
          <a:p>
            <a:pPr algn="ctr">
              <a:defRPr/>
            </a:pPr>
            <a:r>
              <a:rPr lang="ru-RU" sz="1000">
                <a:solidFill>
                  <a:schemeClr val="bg1"/>
                </a:solidFill>
                <a:cs typeface="Arial" pitchFamily="34" charset="0"/>
              </a:rPr>
              <a:t>р а й о н</a:t>
            </a:r>
          </a:p>
        </p:txBody>
      </p:sp>
      <p:sp>
        <p:nvSpPr>
          <p:cNvPr id="332994" name="Text Box 194"/>
          <p:cNvSpPr txBox="1">
            <a:spLocks noChangeArrowheads="1"/>
          </p:cNvSpPr>
          <p:nvPr/>
        </p:nvSpPr>
        <p:spPr bwMode="auto">
          <a:xfrm>
            <a:off x="3703638" y="2144713"/>
            <a:ext cx="101282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000">
                <a:solidFill>
                  <a:schemeClr val="bg1"/>
                </a:solidFill>
                <a:cs typeface="Arial" pitchFamily="34" charset="0"/>
              </a:rPr>
              <a:t>Ч а у н с к и й </a:t>
            </a:r>
          </a:p>
          <a:p>
            <a:pPr algn="ctr">
              <a:defRPr/>
            </a:pPr>
            <a:r>
              <a:rPr lang="ru-RU" sz="1000">
                <a:solidFill>
                  <a:schemeClr val="bg1"/>
                </a:solidFill>
                <a:cs typeface="Arial" pitchFamily="34" charset="0"/>
              </a:rPr>
              <a:t>р а й о н</a:t>
            </a:r>
          </a:p>
        </p:txBody>
      </p:sp>
      <p:sp>
        <p:nvSpPr>
          <p:cNvPr id="332995" name="Text Box 195"/>
          <p:cNvSpPr txBox="1">
            <a:spLocks noChangeArrowheads="1"/>
          </p:cNvSpPr>
          <p:nvPr/>
        </p:nvSpPr>
        <p:spPr bwMode="auto">
          <a:xfrm>
            <a:off x="5399088" y="2349500"/>
            <a:ext cx="12573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000">
                <a:solidFill>
                  <a:schemeClr val="bg1"/>
                </a:solidFill>
                <a:cs typeface="Arial" pitchFamily="34" charset="0"/>
              </a:rPr>
              <a:t>И у л ь т и н с к и й </a:t>
            </a:r>
          </a:p>
          <a:p>
            <a:pPr algn="ctr">
              <a:defRPr/>
            </a:pPr>
            <a:r>
              <a:rPr lang="ru-RU" sz="1000">
                <a:solidFill>
                  <a:schemeClr val="bg1"/>
                </a:solidFill>
                <a:cs typeface="Arial" pitchFamily="34" charset="0"/>
              </a:rPr>
              <a:t>р а й о н</a:t>
            </a:r>
          </a:p>
        </p:txBody>
      </p:sp>
      <p:sp>
        <p:nvSpPr>
          <p:cNvPr id="12" name="Oval 38"/>
          <p:cNvSpPr>
            <a:spLocks noChangeAspect="1" noChangeArrowheads="1"/>
          </p:cNvSpPr>
          <p:nvPr>
            <p:custDataLst>
              <p:tags r:id="rId62"/>
            </p:custDataLst>
          </p:nvPr>
        </p:nvSpPr>
        <p:spPr bwMode="auto">
          <a:xfrm>
            <a:off x="6221413" y="4719638"/>
            <a:ext cx="111125" cy="111125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3" name="Oval 38"/>
          <p:cNvSpPr>
            <a:spLocks noChangeAspect="1" noChangeArrowheads="1"/>
          </p:cNvSpPr>
          <p:nvPr>
            <p:custDataLst>
              <p:tags r:id="rId63"/>
            </p:custDataLst>
          </p:nvPr>
        </p:nvSpPr>
        <p:spPr bwMode="auto">
          <a:xfrm>
            <a:off x="7769225" y="3508375"/>
            <a:ext cx="111125" cy="111125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4" name="Oval 38"/>
          <p:cNvSpPr>
            <a:spLocks noChangeAspect="1" noChangeArrowheads="1"/>
          </p:cNvSpPr>
          <p:nvPr>
            <p:custDataLst>
              <p:tags r:id="rId64"/>
            </p:custDataLst>
          </p:nvPr>
        </p:nvSpPr>
        <p:spPr bwMode="auto">
          <a:xfrm>
            <a:off x="7910513" y="2895600"/>
            <a:ext cx="111125" cy="111125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5" name="Oval 38"/>
          <p:cNvSpPr>
            <a:spLocks noChangeAspect="1" noChangeArrowheads="1"/>
          </p:cNvSpPr>
          <p:nvPr>
            <p:custDataLst>
              <p:tags r:id="rId65"/>
            </p:custDataLst>
          </p:nvPr>
        </p:nvSpPr>
        <p:spPr bwMode="auto">
          <a:xfrm>
            <a:off x="6192838" y="3006725"/>
            <a:ext cx="111125" cy="111125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117" name="Text Box 41"/>
          <p:cNvSpPr txBox="1">
            <a:spLocks noChangeAspect="1" noChangeArrowheads="1"/>
          </p:cNvSpPr>
          <p:nvPr>
            <p:custDataLst>
              <p:tags r:id="rId66"/>
            </p:custDataLst>
          </p:nvPr>
        </p:nvSpPr>
        <p:spPr bwMode="auto">
          <a:xfrm>
            <a:off x="7962900" y="2776538"/>
            <a:ext cx="608013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900" b="1"/>
              <a:t>Лаврентия</a:t>
            </a:r>
          </a:p>
        </p:txBody>
      </p:sp>
      <p:sp>
        <p:nvSpPr>
          <p:cNvPr id="2118" name="Text Box 41"/>
          <p:cNvSpPr txBox="1">
            <a:spLocks noChangeAspect="1" noChangeArrowheads="1"/>
          </p:cNvSpPr>
          <p:nvPr>
            <p:custDataLst>
              <p:tags r:id="rId67"/>
            </p:custDataLst>
          </p:nvPr>
        </p:nvSpPr>
        <p:spPr bwMode="auto">
          <a:xfrm>
            <a:off x="7885113" y="3429000"/>
            <a:ext cx="70326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900" b="1"/>
              <a:t>Провидения</a:t>
            </a:r>
          </a:p>
        </p:txBody>
      </p:sp>
      <p:sp>
        <p:nvSpPr>
          <p:cNvPr id="333004" name="Text Box 204"/>
          <p:cNvSpPr txBox="1">
            <a:spLocks noChangeArrowheads="1"/>
          </p:cNvSpPr>
          <p:nvPr/>
        </p:nvSpPr>
        <p:spPr bwMode="auto">
          <a:xfrm>
            <a:off x="7242175" y="2565400"/>
            <a:ext cx="83502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000">
                <a:solidFill>
                  <a:schemeClr val="bg1"/>
                </a:solidFill>
                <a:cs typeface="Arial" pitchFamily="34" charset="0"/>
              </a:rPr>
              <a:t> Чукотский </a:t>
            </a:r>
          </a:p>
          <a:p>
            <a:pPr algn="ctr">
              <a:defRPr/>
            </a:pPr>
            <a:r>
              <a:rPr lang="ru-RU" sz="1000">
                <a:solidFill>
                  <a:schemeClr val="bg1"/>
                </a:solidFill>
                <a:cs typeface="Arial" pitchFamily="34" charset="0"/>
              </a:rPr>
              <a:t>район</a:t>
            </a:r>
          </a:p>
        </p:txBody>
      </p:sp>
      <p:sp>
        <p:nvSpPr>
          <p:cNvPr id="333005" name="Text Box 205"/>
          <p:cNvSpPr txBox="1">
            <a:spLocks noChangeArrowheads="1"/>
          </p:cNvSpPr>
          <p:nvPr/>
        </p:nvSpPr>
        <p:spPr bwMode="auto">
          <a:xfrm>
            <a:off x="6810375" y="3141663"/>
            <a:ext cx="108902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000">
                <a:solidFill>
                  <a:schemeClr val="bg1"/>
                </a:solidFill>
                <a:cs typeface="Arial" pitchFamily="34" charset="0"/>
              </a:rPr>
              <a:t> Провиденский </a:t>
            </a:r>
          </a:p>
          <a:p>
            <a:pPr algn="ctr">
              <a:defRPr/>
            </a:pPr>
            <a:r>
              <a:rPr lang="ru-RU" sz="1000">
                <a:solidFill>
                  <a:schemeClr val="bg1"/>
                </a:solidFill>
                <a:cs typeface="Arial" pitchFamily="34" charset="0"/>
              </a:rPr>
              <a:t>район</a:t>
            </a:r>
          </a:p>
        </p:txBody>
      </p:sp>
      <p:sp>
        <p:nvSpPr>
          <p:cNvPr id="2121" name="Text Box 22"/>
          <p:cNvSpPr txBox="1">
            <a:spLocks noChangeAspect="1" noChangeArrowheads="1"/>
          </p:cNvSpPr>
          <p:nvPr>
            <p:custDataLst>
              <p:tags r:id="rId68"/>
            </p:custDataLst>
          </p:nvPr>
        </p:nvSpPr>
        <p:spPr bwMode="auto">
          <a:xfrm>
            <a:off x="2197100" y="2917825"/>
            <a:ext cx="230188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Клен</a:t>
            </a:r>
          </a:p>
        </p:txBody>
      </p:sp>
      <p:sp>
        <p:nvSpPr>
          <p:cNvPr id="16" name="Oval 69"/>
          <p:cNvSpPr>
            <a:spLocks noChangeAspect="1" noChangeArrowheads="1"/>
          </p:cNvSpPr>
          <p:nvPr>
            <p:custDataLst>
              <p:tags r:id="rId69"/>
            </p:custDataLst>
          </p:nvPr>
        </p:nvSpPr>
        <p:spPr bwMode="auto">
          <a:xfrm>
            <a:off x="2089150" y="2662238"/>
            <a:ext cx="207963" cy="203200"/>
          </a:xfrm>
          <a:prstGeom prst="ellipse">
            <a:avLst/>
          </a:prstGeom>
          <a:solidFill>
            <a:srgbClr val="CC0000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1" name="Oval 77"/>
          <p:cNvSpPr>
            <a:spLocks noChangeAspect="1" noChangeArrowheads="1"/>
          </p:cNvSpPr>
          <p:nvPr>
            <p:custDataLst>
              <p:tags r:id="rId70"/>
            </p:custDataLst>
          </p:nvPr>
        </p:nvSpPr>
        <p:spPr bwMode="auto">
          <a:xfrm>
            <a:off x="3914775" y="1628775"/>
            <a:ext cx="225425" cy="219075"/>
          </a:xfrm>
          <a:prstGeom prst="ellipse">
            <a:avLst/>
          </a:prstGeom>
          <a:solidFill>
            <a:srgbClr val="993300">
              <a:alpha val="85001"/>
            </a:srgb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124" name="Text Box 157"/>
          <p:cNvSpPr txBox="1">
            <a:spLocks noChangeAspect="1" noChangeArrowheads="1"/>
          </p:cNvSpPr>
          <p:nvPr>
            <p:custDataLst>
              <p:tags r:id="rId71"/>
            </p:custDataLst>
          </p:nvPr>
        </p:nvSpPr>
        <p:spPr bwMode="auto">
          <a:xfrm>
            <a:off x="3200400" y="1628775"/>
            <a:ext cx="7254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Валькумейское</a:t>
            </a:r>
          </a:p>
        </p:txBody>
      </p:sp>
      <p:sp>
        <p:nvSpPr>
          <p:cNvPr id="2125" name="Oval 32"/>
          <p:cNvSpPr>
            <a:spLocks noChangeAspect="1" noChangeArrowheads="1"/>
          </p:cNvSpPr>
          <p:nvPr>
            <p:custDataLst>
              <p:tags r:id="rId72"/>
            </p:custDataLst>
          </p:nvPr>
        </p:nvSpPr>
        <p:spPr bwMode="auto">
          <a:xfrm>
            <a:off x="4003675" y="1697038"/>
            <a:ext cx="58738" cy="53975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2" name="Oval 70"/>
          <p:cNvSpPr>
            <a:spLocks noChangeAspect="1" noChangeArrowheads="1"/>
          </p:cNvSpPr>
          <p:nvPr>
            <p:custDataLst>
              <p:tags r:id="rId73"/>
            </p:custDataLst>
          </p:nvPr>
        </p:nvSpPr>
        <p:spPr bwMode="auto">
          <a:xfrm>
            <a:off x="2628900" y="3255963"/>
            <a:ext cx="207963" cy="203200"/>
          </a:xfrm>
          <a:prstGeom prst="ellipse">
            <a:avLst/>
          </a:prstGeom>
          <a:solidFill>
            <a:srgbClr val="CC0000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Oval 77"/>
          <p:cNvSpPr>
            <a:spLocks noChangeAspect="1" noChangeArrowheads="1"/>
          </p:cNvSpPr>
          <p:nvPr>
            <p:custDataLst>
              <p:tags r:id="rId74"/>
            </p:custDataLst>
          </p:nvPr>
        </p:nvSpPr>
        <p:spPr bwMode="auto">
          <a:xfrm>
            <a:off x="2705100" y="3098800"/>
            <a:ext cx="225425" cy="219075"/>
          </a:xfrm>
          <a:prstGeom prst="ellipse">
            <a:avLst/>
          </a:prstGeom>
          <a:solidFill>
            <a:srgbClr val="008000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3" name="Text Box 204"/>
          <p:cNvSpPr txBox="1">
            <a:spLocks noChangeArrowheads="1"/>
          </p:cNvSpPr>
          <p:nvPr/>
        </p:nvSpPr>
        <p:spPr bwMode="auto">
          <a:xfrm>
            <a:off x="250825" y="1268413"/>
            <a:ext cx="2592388" cy="1065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cs typeface="Arial" pitchFamily="34" charset="0"/>
              </a:rPr>
              <a:t>ЧАУН-БИЛИБИНСКАЯ</a:t>
            </a:r>
          </a:p>
          <a:p>
            <a:pPr>
              <a:defRPr/>
            </a:pPr>
            <a:r>
              <a:rPr lang="ru-RU" sz="1400" b="1">
                <a:solidFill>
                  <a:srgbClr val="003399"/>
                </a:solidFill>
                <a:cs typeface="Arial" pitchFamily="34" charset="0"/>
              </a:rPr>
              <a:t>ПРОМЫШЛЕННАЯ  ЗОНА:</a:t>
            </a:r>
          </a:p>
          <a:p>
            <a:pPr>
              <a:defRPr/>
            </a:pPr>
            <a:endParaRPr lang="ru-RU" sz="800" b="1">
              <a:solidFill>
                <a:srgbClr val="003399"/>
              </a:solidFill>
              <a:cs typeface="Arial" pitchFamily="34" charset="0"/>
            </a:endParaRPr>
          </a:p>
          <a:p>
            <a:pPr>
              <a:defRPr/>
            </a:pPr>
            <a:r>
              <a:rPr lang="ru-RU" sz="1400" b="1">
                <a:solidFill>
                  <a:srgbClr val="003399"/>
                </a:solidFill>
                <a:cs typeface="Arial" pitchFamily="34" charset="0"/>
              </a:rPr>
              <a:t>золото, серебро, медь, олово, вольфрам</a:t>
            </a:r>
          </a:p>
        </p:txBody>
      </p:sp>
      <p:sp>
        <p:nvSpPr>
          <p:cNvPr id="24" name="Text Box 205"/>
          <p:cNvSpPr txBox="1">
            <a:spLocks noChangeArrowheads="1"/>
          </p:cNvSpPr>
          <p:nvPr/>
        </p:nvSpPr>
        <p:spPr bwMode="auto">
          <a:xfrm>
            <a:off x="6877050" y="4149725"/>
            <a:ext cx="2082800" cy="106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cs typeface="Arial" pitchFamily="34" charset="0"/>
              </a:rPr>
              <a:t>АНАДЫРСКАЯ</a:t>
            </a:r>
          </a:p>
          <a:p>
            <a:pPr>
              <a:defRPr/>
            </a:pPr>
            <a:r>
              <a:rPr lang="ru-RU" sz="1400" b="1">
                <a:solidFill>
                  <a:srgbClr val="003399"/>
                </a:solidFill>
                <a:cs typeface="Arial" pitchFamily="34" charset="0"/>
              </a:rPr>
              <a:t>ПРОМЫШЛЕННАЯ  ЗОНА:</a:t>
            </a:r>
          </a:p>
          <a:p>
            <a:pPr>
              <a:defRPr/>
            </a:pPr>
            <a:endParaRPr lang="ru-RU" sz="800" b="1">
              <a:solidFill>
                <a:srgbClr val="003399"/>
              </a:solidFill>
              <a:cs typeface="Arial" pitchFamily="34" charset="0"/>
            </a:endParaRPr>
          </a:p>
          <a:p>
            <a:pPr>
              <a:defRPr/>
            </a:pPr>
            <a:r>
              <a:rPr lang="ru-RU" sz="1400" b="1">
                <a:solidFill>
                  <a:srgbClr val="003399"/>
                </a:solidFill>
                <a:cs typeface="Arial" pitchFamily="34" charset="0"/>
              </a:rPr>
              <a:t>уголь, нефть, газ</a:t>
            </a:r>
          </a:p>
        </p:txBody>
      </p:sp>
      <p:sp>
        <p:nvSpPr>
          <p:cNvPr id="26" name="Oval 77"/>
          <p:cNvSpPr>
            <a:spLocks noChangeAspect="1" noChangeArrowheads="1"/>
          </p:cNvSpPr>
          <p:nvPr>
            <p:custDataLst>
              <p:tags r:id="rId75"/>
            </p:custDataLst>
          </p:nvPr>
        </p:nvSpPr>
        <p:spPr bwMode="auto">
          <a:xfrm>
            <a:off x="6149975" y="2216150"/>
            <a:ext cx="225425" cy="219075"/>
          </a:xfrm>
          <a:prstGeom prst="ellipse">
            <a:avLst/>
          </a:prstGeom>
          <a:solidFill>
            <a:srgbClr val="FF99FF">
              <a:alpha val="70000"/>
            </a:srgb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131" name="Text Box 46"/>
          <p:cNvSpPr txBox="1">
            <a:spLocks noChangeAspect="1" noChangeArrowheads="1"/>
          </p:cNvSpPr>
          <p:nvPr>
            <p:custDataLst>
              <p:tags r:id="rId76"/>
            </p:custDataLst>
          </p:nvPr>
        </p:nvSpPr>
        <p:spPr bwMode="auto">
          <a:xfrm>
            <a:off x="5614988" y="2024063"/>
            <a:ext cx="4381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Светлое</a:t>
            </a:r>
          </a:p>
        </p:txBody>
      </p:sp>
      <p:sp>
        <p:nvSpPr>
          <p:cNvPr id="27" name="Oval 77"/>
          <p:cNvSpPr>
            <a:spLocks noChangeAspect="1" noChangeArrowheads="1"/>
          </p:cNvSpPr>
          <p:nvPr>
            <p:custDataLst>
              <p:tags r:id="rId77"/>
            </p:custDataLst>
          </p:nvPr>
        </p:nvSpPr>
        <p:spPr bwMode="auto">
          <a:xfrm>
            <a:off x="6072188" y="2051050"/>
            <a:ext cx="225425" cy="219075"/>
          </a:xfrm>
          <a:prstGeom prst="ellipse">
            <a:avLst/>
          </a:prstGeom>
          <a:solidFill>
            <a:srgbClr val="FF99FF">
              <a:alpha val="70000"/>
            </a:srgb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133" name="Text Box 46"/>
          <p:cNvSpPr txBox="1">
            <a:spLocks noChangeAspect="1" noChangeArrowheads="1"/>
          </p:cNvSpPr>
          <p:nvPr>
            <p:custDataLst>
              <p:tags r:id="rId78"/>
            </p:custDataLst>
          </p:nvPr>
        </p:nvSpPr>
        <p:spPr bwMode="auto">
          <a:xfrm>
            <a:off x="5505450" y="2239963"/>
            <a:ext cx="6445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Иультинское</a:t>
            </a:r>
          </a:p>
        </p:txBody>
      </p:sp>
      <p:sp>
        <p:nvSpPr>
          <p:cNvPr id="29" name="Oval 77"/>
          <p:cNvSpPr>
            <a:spLocks noChangeAspect="1" noChangeArrowheads="1"/>
          </p:cNvSpPr>
          <p:nvPr>
            <p:custDataLst>
              <p:tags r:id="rId79"/>
            </p:custDataLst>
          </p:nvPr>
        </p:nvSpPr>
        <p:spPr bwMode="auto">
          <a:xfrm>
            <a:off x="4873625" y="4778375"/>
            <a:ext cx="225425" cy="219075"/>
          </a:xfrm>
          <a:prstGeom prst="ellipse">
            <a:avLst/>
          </a:prstGeom>
          <a:solidFill>
            <a:srgbClr val="800000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0" name="Oval 77"/>
          <p:cNvSpPr>
            <a:spLocks noChangeAspect="1" noChangeArrowheads="1"/>
          </p:cNvSpPr>
          <p:nvPr>
            <p:custDataLst>
              <p:tags r:id="rId80"/>
            </p:custDataLst>
          </p:nvPr>
        </p:nvSpPr>
        <p:spPr bwMode="auto">
          <a:xfrm>
            <a:off x="4187825" y="1909763"/>
            <a:ext cx="225425" cy="219075"/>
          </a:xfrm>
          <a:prstGeom prst="ellipse">
            <a:avLst/>
          </a:prstGeom>
          <a:solidFill>
            <a:srgbClr val="800000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136" name="Oval 62"/>
          <p:cNvSpPr>
            <a:spLocks noChangeAspect="1" noChangeArrowheads="1"/>
          </p:cNvSpPr>
          <p:nvPr>
            <p:custDataLst>
              <p:tags r:id="rId81"/>
            </p:custDataLst>
          </p:nvPr>
        </p:nvSpPr>
        <p:spPr bwMode="auto">
          <a:xfrm rot="-758529">
            <a:off x="4400550" y="1908175"/>
            <a:ext cx="58738" cy="53975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137" name="Text Box 90"/>
          <p:cNvSpPr txBox="1">
            <a:spLocks noChangeAspect="1" noChangeArrowheads="1"/>
          </p:cNvSpPr>
          <p:nvPr>
            <p:custDataLst>
              <p:tags r:id="rId82"/>
            </p:custDataLst>
          </p:nvPr>
        </p:nvSpPr>
        <p:spPr bwMode="auto">
          <a:xfrm>
            <a:off x="3725863" y="1939925"/>
            <a:ext cx="509587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Западно-</a:t>
            </a:r>
          </a:p>
          <a:p>
            <a:pPr algn="ctr"/>
            <a:r>
              <a:rPr lang="ru-RU" sz="800" i="1"/>
              <a:t>Полянское</a:t>
            </a:r>
          </a:p>
        </p:txBody>
      </p:sp>
      <p:sp>
        <p:nvSpPr>
          <p:cNvPr id="2" name="Oval 38"/>
          <p:cNvSpPr>
            <a:spLocks noChangeAspect="1" noChangeArrowheads="1"/>
          </p:cNvSpPr>
          <p:nvPr>
            <p:custDataLst>
              <p:tags r:id="rId83"/>
            </p:custDataLst>
          </p:nvPr>
        </p:nvSpPr>
        <p:spPr bwMode="auto">
          <a:xfrm>
            <a:off x="3940175" y="1576388"/>
            <a:ext cx="138113" cy="138112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139" name="Text Box 75"/>
          <p:cNvSpPr txBox="1">
            <a:spLocks noChangeAspect="1" noChangeArrowheads="1"/>
          </p:cNvSpPr>
          <p:nvPr>
            <p:custDataLst>
              <p:tags r:id="rId84"/>
            </p:custDataLst>
          </p:nvPr>
        </p:nvSpPr>
        <p:spPr bwMode="auto">
          <a:xfrm>
            <a:off x="4251325" y="4654550"/>
            <a:ext cx="76517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Тамватнейское</a:t>
            </a:r>
          </a:p>
        </p:txBody>
      </p:sp>
      <p:sp>
        <p:nvSpPr>
          <p:cNvPr id="2140" name="Oval 65"/>
          <p:cNvSpPr>
            <a:spLocks noChangeAspect="1" noChangeArrowheads="1"/>
          </p:cNvSpPr>
          <p:nvPr>
            <p:custDataLst>
              <p:tags r:id="rId85"/>
            </p:custDataLst>
          </p:nvPr>
        </p:nvSpPr>
        <p:spPr bwMode="auto">
          <a:xfrm>
            <a:off x="5048250" y="4745038"/>
            <a:ext cx="58738" cy="53975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1226828" name="AutoShape 76"/>
          <p:cNvSpPr>
            <a:spLocks noChangeArrowheads="1"/>
          </p:cNvSpPr>
          <p:nvPr>
            <p:custDataLst>
              <p:tags r:id="rId86"/>
            </p:custDataLst>
          </p:nvPr>
        </p:nvSpPr>
        <p:spPr bwMode="auto">
          <a:xfrm>
            <a:off x="5356225" y="4303713"/>
            <a:ext cx="144463" cy="360362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226822" name="Oval 70"/>
          <p:cNvSpPr>
            <a:spLocks noChangeAspect="1" noChangeArrowheads="1"/>
          </p:cNvSpPr>
          <p:nvPr>
            <p:custDataLst>
              <p:tags r:id="rId87"/>
            </p:custDataLst>
          </p:nvPr>
        </p:nvSpPr>
        <p:spPr bwMode="auto">
          <a:xfrm>
            <a:off x="3711575" y="3130550"/>
            <a:ext cx="207963" cy="203200"/>
          </a:xfrm>
          <a:prstGeom prst="ellipse">
            <a:avLst/>
          </a:prstGeom>
          <a:solidFill>
            <a:srgbClr val="FFFFFF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2865" name="Oval 70"/>
          <p:cNvSpPr>
            <a:spLocks noChangeAspect="1" noChangeArrowheads="1"/>
          </p:cNvSpPr>
          <p:nvPr>
            <p:custDataLst>
              <p:tags r:id="rId88"/>
            </p:custDataLst>
          </p:nvPr>
        </p:nvSpPr>
        <p:spPr bwMode="auto">
          <a:xfrm>
            <a:off x="3662363" y="3081338"/>
            <a:ext cx="207962" cy="203200"/>
          </a:xfrm>
          <a:prstGeom prst="ellipse">
            <a:avLst/>
          </a:prstGeom>
          <a:solidFill>
            <a:srgbClr val="CC0000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2866" name="Oval 70"/>
          <p:cNvSpPr>
            <a:spLocks noChangeAspect="1" noChangeArrowheads="1"/>
          </p:cNvSpPr>
          <p:nvPr>
            <p:custDataLst>
              <p:tags r:id="rId89"/>
            </p:custDataLst>
          </p:nvPr>
        </p:nvSpPr>
        <p:spPr bwMode="auto">
          <a:xfrm>
            <a:off x="3651250" y="2665413"/>
            <a:ext cx="207963" cy="203200"/>
          </a:xfrm>
          <a:prstGeom prst="ellipse">
            <a:avLst/>
          </a:prstGeom>
          <a:solidFill>
            <a:srgbClr val="FFFFFF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226821" name="Oval 69"/>
          <p:cNvSpPr>
            <a:spLocks noChangeAspect="1" noChangeArrowheads="1"/>
          </p:cNvSpPr>
          <p:nvPr>
            <p:custDataLst>
              <p:tags r:id="rId90"/>
            </p:custDataLst>
          </p:nvPr>
        </p:nvSpPr>
        <p:spPr bwMode="auto">
          <a:xfrm>
            <a:off x="3605213" y="2613025"/>
            <a:ext cx="207962" cy="203200"/>
          </a:xfrm>
          <a:prstGeom prst="ellipse">
            <a:avLst/>
          </a:prstGeom>
          <a:solidFill>
            <a:srgbClr val="CC0000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2867" name="Oval 70"/>
          <p:cNvSpPr>
            <a:spLocks noChangeAspect="1" noChangeArrowheads="1"/>
          </p:cNvSpPr>
          <p:nvPr>
            <p:custDataLst>
              <p:tags r:id="rId91"/>
            </p:custDataLst>
          </p:nvPr>
        </p:nvSpPr>
        <p:spPr bwMode="auto">
          <a:xfrm>
            <a:off x="5357813" y="3119438"/>
            <a:ext cx="207962" cy="203200"/>
          </a:xfrm>
          <a:prstGeom prst="ellipse">
            <a:avLst/>
          </a:prstGeom>
          <a:solidFill>
            <a:srgbClr val="FFFFFF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226825" name="Oval 73"/>
          <p:cNvSpPr>
            <a:spLocks noChangeAspect="1" noChangeArrowheads="1"/>
          </p:cNvSpPr>
          <p:nvPr>
            <p:custDataLst>
              <p:tags r:id="rId92"/>
            </p:custDataLst>
          </p:nvPr>
        </p:nvSpPr>
        <p:spPr bwMode="auto">
          <a:xfrm>
            <a:off x="5308600" y="3070225"/>
            <a:ext cx="207963" cy="203200"/>
          </a:xfrm>
          <a:prstGeom prst="ellipse">
            <a:avLst/>
          </a:prstGeom>
          <a:solidFill>
            <a:srgbClr val="CC0000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2868" name="Oval 69"/>
          <p:cNvSpPr>
            <a:spLocks noChangeAspect="1" noChangeArrowheads="1"/>
          </p:cNvSpPr>
          <p:nvPr>
            <p:custDataLst>
              <p:tags r:id="rId93"/>
            </p:custDataLst>
          </p:nvPr>
        </p:nvSpPr>
        <p:spPr bwMode="auto">
          <a:xfrm>
            <a:off x="3009900" y="2955925"/>
            <a:ext cx="207963" cy="203200"/>
          </a:xfrm>
          <a:prstGeom prst="ellipse">
            <a:avLst/>
          </a:prstGeom>
          <a:solidFill>
            <a:srgbClr val="CC0000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149" name="Text Box 22"/>
          <p:cNvSpPr txBox="1">
            <a:spLocks noChangeAspect="1" noChangeArrowheads="1"/>
          </p:cNvSpPr>
          <p:nvPr>
            <p:custDataLst>
              <p:tags r:id="rId94"/>
            </p:custDataLst>
          </p:nvPr>
        </p:nvSpPr>
        <p:spPr bwMode="auto">
          <a:xfrm>
            <a:off x="3238500" y="3087688"/>
            <a:ext cx="330200" cy="122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Кекура</a:t>
            </a:r>
          </a:p>
        </p:txBody>
      </p:sp>
      <p:sp>
        <p:nvSpPr>
          <p:cNvPr id="171115" name="Rectangle 107"/>
          <p:cNvSpPr>
            <a:spLocks noChangeArrowheads="1"/>
          </p:cNvSpPr>
          <p:nvPr/>
        </p:nvSpPr>
        <p:spPr bwMode="auto">
          <a:xfrm>
            <a:off x="250825" y="115888"/>
            <a:ext cx="8713788" cy="822325"/>
          </a:xfrm>
          <a:prstGeom prst="rect">
            <a:avLst/>
          </a:prstGeom>
          <a:solidFill>
            <a:srgbClr val="31739B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31739B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ru-RU" sz="24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pitchFamily="34" charset="0"/>
              </a:rPr>
              <a:t>Стратегическое развитие Чукотки: </a:t>
            </a:r>
          </a:p>
          <a:p>
            <a:pPr>
              <a:defRPr/>
            </a:pPr>
            <a:r>
              <a:rPr lang="ru-RU" sz="24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pitchFamily="34" charset="0"/>
              </a:rPr>
              <a:t>освоение месторождений полезных ископаемых</a:t>
            </a:r>
          </a:p>
        </p:txBody>
      </p:sp>
      <p:sp>
        <p:nvSpPr>
          <p:cNvPr id="2151" name="Номер слайда 3"/>
          <p:cNvSpPr txBox="1">
            <a:spLocks noGrp="1"/>
          </p:cNvSpPr>
          <p:nvPr/>
        </p:nvSpPr>
        <p:spPr bwMode="auto">
          <a:xfrm>
            <a:off x="8604250" y="6376988"/>
            <a:ext cx="36671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59CEC831-4891-4210-BAD5-FC681AC7C303}" type="slidenum">
              <a:rPr lang="ru-RU" sz="1200"/>
              <a:pPr algn="r"/>
              <a:t>10</a:t>
            </a:fld>
            <a:endParaRPr lang="ru-RU" sz="1200"/>
          </a:p>
        </p:txBody>
      </p:sp>
      <p:sp>
        <p:nvSpPr>
          <p:cNvPr id="5" name="Text Box 193"/>
          <p:cNvSpPr txBox="1">
            <a:spLocks noChangeArrowheads="1"/>
          </p:cNvSpPr>
          <p:nvPr/>
        </p:nvSpPr>
        <p:spPr bwMode="auto">
          <a:xfrm>
            <a:off x="3924300" y="3500438"/>
            <a:ext cx="119221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000">
                <a:solidFill>
                  <a:schemeClr val="bg1"/>
                </a:solidFill>
                <a:cs typeface="Arial" pitchFamily="34" charset="0"/>
              </a:rPr>
              <a:t>А н а д ы р с к и й </a:t>
            </a:r>
          </a:p>
          <a:p>
            <a:pPr algn="ctr">
              <a:defRPr/>
            </a:pPr>
            <a:r>
              <a:rPr lang="ru-RU" sz="1000">
                <a:solidFill>
                  <a:schemeClr val="bg1"/>
                </a:solidFill>
                <a:cs typeface="Arial" pitchFamily="34" charset="0"/>
              </a:rPr>
              <a:t>р а й о н</a:t>
            </a:r>
          </a:p>
        </p:txBody>
      </p:sp>
      <p:sp>
        <p:nvSpPr>
          <p:cNvPr id="6" name="AutoShape 12" descr="Screenshot_20251125_060041_Gallery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36315"/>
            <a:ext cx="9144000" cy="518537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89DBFF2-E474-448C-93DB-325B17F26627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0822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B73737-3AE5-49F3-A21F-EF64B7C1B1C9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  <p:sp>
        <p:nvSpPr>
          <p:cNvPr id="3" name="AutoShape 2" descr="Screenshot_20251125_060041_Gallery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10166"/>
            <a:ext cx="9144000" cy="5037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593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89DBFF2-E474-448C-93DB-325B17F26627}" type="slidenum">
              <a:rPr lang="ru-RU" smtClean="0"/>
              <a:pPr>
                <a:defRPr/>
              </a:pPr>
              <a:t>13</a:t>
            </a:fld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755576" y="584684"/>
            <a:ext cx="558062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rgbClr val="1506D4"/>
                </a:solidFill>
              </a:rPr>
              <a:t>Месторождение «</a:t>
            </a:r>
            <a:r>
              <a:rPr lang="ru-RU" sz="1600" b="1" dirty="0" err="1" smtClean="0">
                <a:solidFill>
                  <a:srgbClr val="1506D4"/>
                </a:solidFill>
              </a:rPr>
              <a:t>Баимское</a:t>
            </a:r>
            <a:r>
              <a:rPr lang="ru-RU" sz="1600" b="1" dirty="0" smtClean="0">
                <a:solidFill>
                  <a:srgbClr val="1506D4"/>
                </a:solidFill>
              </a:rPr>
              <a:t>»</a:t>
            </a:r>
            <a:endParaRPr lang="ru-RU" sz="1600" b="1" dirty="0">
              <a:solidFill>
                <a:srgbClr val="1506D4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80" y="1232755"/>
            <a:ext cx="7931719" cy="5290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4284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89DBFF2-E474-448C-93DB-325B17F26627}" type="slidenum">
              <a:rPr lang="ru-RU" smtClean="0"/>
              <a:pPr>
                <a:defRPr/>
              </a:pPr>
              <a:t>14</a:t>
            </a:fld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2341873" y="253178"/>
            <a:ext cx="558062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1506D4"/>
                </a:solidFill>
              </a:rPr>
              <a:t>ПАТЭС «Ломоносов»</a:t>
            </a:r>
            <a:endParaRPr lang="ru-RU" sz="1600" b="1" dirty="0">
              <a:solidFill>
                <a:srgbClr val="1506D4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980728"/>
            <a:ext cx="7079210" cy="4716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6947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89DBFF2-E474-448C-93DB-325B17F26627}" type="slidenum">
              <a:rPr lang="ru-RU" smtClean="0"/>
              <a:pPr>
                <a:defRPr/>
              </a:pPr>
              <a:t>15</a:t>
            </a:fld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2082297" y="431380"/>
            <a:ext cx="558062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1506D4"/>
                </a:solidFill>
              </a:rPr>
              <a:t>Месторождение «Купол»</a:t>
            </a:r>
            <a:endParaRPr lang="ru-RU" sz="1600" b="1" dirty="0">
              <a:solidFill>
                <a:srgbClr val="1506D4"/>
              </a:solidFill>
            </a:endParaRPr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44118432"/>
              </p:ext>
            </p:extLst>
          </p:nvPr>
        </p:nvGraphicFramePr>
        <p:xfrm>
          <a:off x="47625" y="47625"/>
          <a:ext cx="508000" cy="334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Объект упаковщика для оболочки" showAsIcon="1" r:id="rId3" imgW="507960" imgH="334440" progId="Package">
                  <p:embed/>
                </p:oleObj>
              </mc:Choice>
              <mc:Fallback>
                <p:oleObj name="Объект упаковщика для оболочки" showAsIcon="1" r:id="rId3" imgW="507960" imgH="33444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7625" y="47625"/>
                        <a:ext cx="508000" cy="334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3211" y="1016732"/>
            <a:ext cx="7918472" cy="4932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39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86" name="Rectangle 2"/>
          <p:cNvSpPr>
            <a:spLocks noChangeArrowheads="1"/>
          </p:cNvSpPr>
          <p:nvPr/>
        </p:nvSpPr>
        <p:spPr bwMode="auto">
          <a:xfrm>
            <a:off x="395288" y="188913"/>
            <a:ext cx="8424862" cy="671512"/>
          </a:xfrm>
          <a:prstGeom prst="rect">
            <a:avLst/>
          </a:prstGeom>
          <a:solidFill>
            <a:srgbClr val="31739B">
              <a:alpha val="75000"/>
            </a:srgbClr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31739B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>
              <a:defRPr/>
            </a:pPr>
            <a:endParaRPr lang="ru-RU" sz="800" b="1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cs typeface="Arial" pitchFamily="34" charset="0"/>
            </a:endParaRPr>
          </a:p>
          <a:p>
            <a:pPr>
              <a:defRPr/>
            </a:pPr>
            <a:r>
              <a:rPr lang="ru-RU" sz="22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pitchFamily="34" charset="0"/>
              </a:rPr>
              <a:t>ТОР «БЕРИНГОВСКИЙ»: уникальные возможности</a:t>
            </a:r>
          </a:p>
          <a:p>
            <a:pPr>
              <a:defRPr/>
            </a:pPr>
            <a:endParaRPr lang="ru-RU" sz="800" b="1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cs typeface="Arial" pitchFamily="34" charset="0"/>
            </a:endParaRPr>
          </a:p>
        </p:txBody>
      </p:sp>
      <p:sp>
        <p:nvSpPr>
          <p:cNvPr id="14339" name="Line 348"/>
          <p:cNvSpPr>
            <a:spLocks noChangeShapeType="1"/>
          </p:cNvSpPr>
          <p:nvPr/>
        </p:nvSpPr>
        <p:spPr bwMode="auto">
          <a:xfrm flipV="1">
            <a:off x="179388" y="981075"/>
            <a:ext cx="8899525" cy="7938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>
            <a:prstShdw prst="shdw17" dist="17961" dir="2700000">
              <a:srgbClr val="737373"/>
            </a:prstShdw>
          </a:effectLst>
        </p:spPr>
        <p:txBody>
          <a:bodyPr/>
          <a:lstStyle/>
          <a:p>
            <a:endParaRPr lang="ru-RU"/>
          </a:p>
        </p:txBody>
      </p:sp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850" y="1052513"/>
            <a:ext cx="3671888" cy="2516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9989" name="AutoShape 5"/>
          <p:cNvSpPr>
            <a:spLocks noChangeArrowheads="1"/>
          </p:cNvSpPr>
          <p:nvPr/>
        </p:nvSpPr>
        <p:spPr bwMode="auto">
          <a:xfrm>
            <a:off x="2484438" y="2565400"/>
            <a:ext cx="71437" cy="73025"/>
          </a:xfrm>
          <a:prstGeom prst="flowChartConnector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defRPr/>
            </a:pPr>
            <a:endParaRPr lang="ru-RU">
              <a:cs typeface="Arial" pitchFamily="34" charset="0"/>
            </a:endParaRPr>
          </a:p>
        </p:txBody>
      </p:sp>
      <p:sp>
        <p:nvSpPr>
          <p:cNvPr id="169990" name="Rectangle 6"/>
          <p:cNvSpPr>
            <a:spLocks noChangeArrowheads="1"/>
          </p:cNvSpPr>
          <p:nvPr/>
        </p:nvSpPr>
        <p:spPr bwMode="auto">
          <a:xfrm>
            <a:off x="395288" y="3594100"/>
            <a:ext cx="3600450" cy="3148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anchor="ctr">
            <a:spAutoFit/>
          </a:bodyPr>
          <a:lstStyle/>
          <a:p>
            <a:pPr>
              <a:buClr>
                <a:srgbClr val="813F66"/>
              </a:buClr>
              <a:buFont typeface="Wingdings" pitchFamily="2" charset="2"/>
              <a:buChar char="ü"/>
              <a:defRPr/>
            </a:pPr>
            <a:r>
              <a:rPr lang="ru-RU" sz="1600" b="1">
                <a:solidFill>
                  <a:srgbClr val="813F66"/>
                </a:solidFill>
                <a:cs typeface="Arial" pitchFamily="34" charset="0"/>
              </a:rPr>
              <a:t> </a:t>
            </a:r>
            <a:r>
              <a:rPr lang="ru-RU" sz="1600" b="1">
                <a:solidFill>
                  <a:srgbClr val="990033"/>
                </a:solidFill>
                <a:cs typeface="Arial" pitchFamily="34" charset="0"/>
              </a:rPr>
              <a:t>Включает городской округ </a:t>
            </a:r>
          </a:p>
          <a:p>
            <a:pPr>
              <a:buClr>
                <a:srgbClr val="813F66"/>
              </a:buClr>
              <a:buFont typeface="Wingdings" pitchFamily="2" charset="2"/>
              <a:buNone/>
              <a:defRPr/>
            </a:pPr>
            <a:r>
              <a:rPr lang="ru-RU" sz="1600" b="1">
                <a:solidFill>
                  <a:srgbClr val="990033"/>
                </a:solidFill>
                <a:cs typeface="Arial" pitchFamily="34" charset="0"/>
              </a:rPr>
              <a:t>    Анадырь и значительную   </a:t>
            </a:r>
          </a:p>
          <a:p>
            <a:pPr>
              <a:buClr>
                <a:srgbClr val="813F66"/>
              </a:buClr>
              <a:buFont typeface="Wingdings" pitchFamily="2" charset="2"/>
              <a:buNone/>
              <a:defRPr/>
            </a:pPr>
            <a:r>
              <a:rPr lang="ru-RU" sz="1600" b="1">
                <a:solidFill>
                  <a:srgbClr val="990033"/>
                </a:solidFill>
                <a:cs typeface="Arial" pitchFamily="34" charset="0"/>
              </a:rPr>
              <a:t>    часть Анадырского района</a:t>
            </a:r>
          </a:p>
          <a:p>
            <a:pPr>
              <a:buClr>
                <a:srgbClr val="813F66"/>
              </a:buClr>
              <a:buFont typeface="Wingdings" pitchFamily="2" charset="2"/>
              <a:buNone/>
              <a:defRPr/>
            </a:pPr>
            <a:endParaRPr lang="ru-RU" sz="800" b="1">
              <a:solidFill>
                <a:srgbClr val="990033"/>
              </a:solidFill>
              <a:cs typeface="Arial" pitchFamily="34" charset="0"/>
            </a:endParaRPr>
          </a:p>
          <a:p>
            <a:pPr>
              <a:buClr>
                <a:srgbClr val="813F66"/>
              </a:buClr>
              <a:buFont typeface="Wingdings" pitchFamily="2" charset="2"/>
              <a:buChar char="ü"/>
              <a:defRPr/>
            </a:pPr>
            <a:r>
              <a:rPr lang="ru-RU" sz="1600" b="1">
                <a:solidFill>
                  <a:srgbClr val="990033"/>
                </a:solidFill>
                <a:cs typeface="Arial" pitchFamily="34" charset="0"/>
              </a:rPr>
              <a:t> Специализация - 47 классов    </a:t>
            </a:r>
          </a:p>
          <a:p>
            <a:pPr>
              <a:buClr>
                <a:srgbClr val="813F66"/>
              </a:buClr>
              <a:buFont typeface="Wingdings" pitchFamily="2" charset="2"/>
              <a:buNone/>
              <a:defRPr/>
            </a:pPr>
            <a:r>
              <a:rPr lang="ru-RU" sz="1600" b="1">
                <a:solidFill>
                  <a:srgbClr val="990033"/>
                </a:solidFill>
                <a:cs typeface="Arial" pitchFamily="34" charset="0"/>
              </a:rPr>
              <a:t>     видов  экономической </a:t>
            </a:r>
          </a:p>
          <a:p>
            <a:pPr>
              <a:buClr>
                <a:srgbClr val="813F66"/>
              </a:buClr>
              <a:buFont typeface="Wingdings" pitchFamily="2" charset="2"/>
              <a:buNone/>
              <a:defRPr/>
            </a:pPr>
            <a:r>
              <a:rPr lang="ru-RU" sz="1600" b="1">
                <a:solidFill>
                  <a:srgbClr val="990033"/>
                </a:solidFill>
                <a:cs typeface="Arial" pitchFamily="34" charset="0"/>
              </a:rPr>
              <a:t>     деятельности</a:t>
            </a:r>
          </a:p>
          <a:p>
            <a:pPr>
              <a:buClr>
                <a:srgbClr val="813F66"/>
              </a:buClr>
              <a:buFont typeface="Wingdings" pitchFamily="2" charset="2"/>
              <a:buNone/>
              <a:defRPr/>
            </a:pPr>
            <a:r>
              <a:rPr lang="ru-RU" sz="800">
                <a:solidFill>
                  <a:srgbClr val="990033"/>
                </a:solidFill>
                <a:cs typeface="Arial" pitchFamily="34" charset="0"/>
              </a:rPr>
              <a:t>     </a:t>
            </a:r>
            <a:endParaRPr lang="ru-RU" sz="800" b="1">
              <a:solidFill>
                <a:srgbClr val="990033"/>
              </a:solidFill>
              <a:cs typeface="Arial" pitchFamily="34" charset="0"/>
            </a:endParaRPr>
          </a:p>
          <a:p>
            <a:pPr>
              <a:buClr>
                <a:srgbClr val="813F66"/>
              </a:buClr>
              <a:buFont typeface="Wingdings" pitchFamily="2" charset="2"/>
              <a:buChar char="ü"/>
              <a:defRPr/>
            </a:pPr>
            <a:r>
              <a:rPr lang="ru-RU" sz="1600" b="1">
                <a:solidFill>
                  <a:srgbClr val="990033"/>
                </a:solidFill>
                <a:cs typeface="Arial" pitchFamily="34" charset="0"/>
              </a:rPr>
              <a:t> Особый правовой режим  </a:t>
            </a:r>
          </a:p>
          <a:p>
            <a:pPr>
              <a:buClr>
                <a:srgbClr val="813F66"/>
              </a:buClr>
              <a:buFont typeface="Wingdings" pitchFamily="2" charset="2"/>
              <a:buNone/>
              <a:defRPr/>
            </a:pPr>
            <a:r>
              <a:rPr lang="ru-RU" sz="1600" b="1">
                <a:solidFill>
                  <a:srgbClr val="990033"/>
                </a:solidFill>
                <a:cs typeface="Arial" pitchFamily="34" charset="0"/>
              </a:rPr>
              <a:t>     предпринимательской </a:t>
            </a:r>
          </a:p>
          <a:p>
            <a:pPr>
              <a:buClr>
                <a:srgbClr val="813F66"/>
              </a:buClr>
              <a:buFont typeface="Wingdings" pitchFamily="2" charset="2"/>
              <a:buNone/>
              <a:defRPr/>
            </a:pPr>
            <a:r>
              <a:rPr lang="ru-RU" sz="1600" b="1">
                <a:solidFill>
                  <a:srgbClr val="990033"/>
                </a:solidFill>
                <a:cs typeface="Arial" pitchFamily="34" charset="0"/>
              </a:rPr>
              <a:t>     деятельности для резидентов</a:t>
            </a:r>
          </a:p>
          <a:p>
            <a:pPr>
              <a:buClr>
                <a:srgbClr val="813F66"/>
              </a:buClr>
              <a:buFont typeface="Wingdings" pitchFamily="2" charset="2"/>
              <a:buNone/>
              <a:defRPr/>
            </a:pPr>
            <a:endParaRPr lang="ru-RU" sz="800" b="1">
              <a:solidFill>
                <a:srgbClr val="990033"/>
              </a:solidFill>
              <a:cs typeface="Arial" pitchFamily="34" charset="0"/>
            </a:endParaRPr>
          </a:p>
          <a:p>
            <a:pPr>
              <a:buClr>
                <a:srgbClr val="A50021"/>
              </a:buClr>
              <a:buFont typeface="Wingdings" pitchFamily="2" charset="2"/>
              <a:buChar char="ü"/>
              <a:defRPr/>
            </a:pPr>
            <a:r>
              <a:rPr lang="ru-RU" sz="1600" b="1">
                <a:solidFill>
                  <a:srgbClr val="990033"/>
                </a:solidFill>
                <a:cs typeface="Arial" pitchFamily="34" charset="0"/>
              </a:rPr>
              <a:t>  Объем инвестиций в проект</a:t>
            </a:r>
          </a:p>
          <a:p>
            <a:pPr>
              <a:buClr>
                <a:srgbClr val="A50021"/>
              </a:buClr>
              <a:buFont typeface="Wingdings" pitchFamily="2" charset="2"/>
              <a:buNone/>
              <a:defRPr/>
            </a:pPr>
            <a:r>
              <a:rPr lang="ru-RU" sz="1600" b="1">
                <a:solidFill>
                  <a:srgbClr val="990033"/>
                </a:solidFill>
                <a:cs typeface="Arial" pitchFamily="34" charset="0"/>
              </a:rPr>
              <a:t>     от 500 тыс. рублей</a:t>
            </a:r>
          </a:p>
        </p:txBody>
      </p:sp>
      <p:sp>
        <p:nvSpPr>
          <p:cNvPr id="169991" name="Text Box 7"/>
          <p:cNvSpPr txBox="1">
            <a:spLocks noChangeArrowheads="1"/>
          </p:cNvSpPr>
          <p:nvPr/>
        </p:nvSpPr>
        <p:spPr bwMode="auto">
          <a:xfrm>
            <a:off x="2484438" y="2492375"/>
            <a:ext cx="1008062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ru-RU" sz="1100" b="1">
                <a:solidFill>
                  <a:srgbClr val="0033CC"/>
                </a:solidFill>
                <a:cs typeface="Arial" pitchFamily="34" charset="0"/>
              </a:rPr>
              <a:t>Анадырь</a:t>
            </a:r>
          </a:p>
        </p:txBody>
      </p:sp>
      <p:pic>
        <p:nvPicPr>
          <p:cNvPr id="14344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67175" y="1025525"/>
            <a:ext cx="4846638" cy="583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 Box 2"/>
          <p:cNvSpPr txBox="1">
            <a:spLocks noChangeArrowheads="1"/>
          </p:cNvSpPr>
          <p:nvPr/>
        </p:nvSpPr>
        <p:spPr bwMode="auto">
          <a:xfrm>
            <a:off x="179388" y="4221163"/>
            <a:ext cx="1728787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ru-RU"/>
          </a:p>
        </p:txBody>
      </p:sp>
      <p:sp>
        <p:nvSpPr>
          <p:cNvPr id="15363" name="Line 348"/>
          <p:cNvSpPr>
            <a:spLocks noChangeShapeType="1"/>
          </p:cNvSpPr>
          <p:nvPr/>
        </p:nvSpPr>
        <p:spPr bwMode="auto">
          <a:xfrm flipV="1">
            <a:off x="107950" y="981075"/>
            <a:ext cx="8899525" cy="7938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>
            <a:prstShdw prst="shdw17" dist="17961" dir="2700000">
              <a:srgbClr val="737373"/>
            </a:prstShdw>
          </a:effectLst>
        </p:spPr>
        <p:txBody>
          <a:bodyPr/>
          <a:lstStyle/>
          <a:p>
            <a:endParaRPr lang="ru-RU"/>
          </a:p>
        </p:txBody>
      </p:sp>
      <p:sp>
        <p:nvSpPr>
          <p:cNvPr id="168965" name="Rectangle 5"/>
          <p:cNvSpPr>
            <a:spLocks noGrp="1"/>
          </p:cNvSpPr>
          <p:nvPr>
            <p:ph idx="1"/>
          </p:nvPr>
        </p:nvSpPr>
        <p:spPr>
          <a:xfrm>
            <a:off x="395288" y="1196975"/>
            <a:ext cx="8424862" cy="5256213"/>
          </a:xfrm>
          <a:ln w="25400">
            <a:solidFill>
              <a:srgbClr val="2994AD"/>
            </a:solidFill>
          </a:ln>
        </p:spPr>
        <p:txBody>
          <a:bodyPr/>
          <a:lstStyle/>
          <a:p>
            <a:pPr>
              <a:buClr>
                <a:schemeClr val="folHlink"/>
              </a:buClr>
              <a:buFont typeface="Wingdings" pitchFamily="2" charset="2"/>
              <a:buChar char="Ø"/>
              <a:defRPr/>
            </a:pPr>
            <a:r>
              <a:rPr lang="ru-RU" sz="1800" b="1">
                <a:solidFill>
                  <a:srgbClr val="004D7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Режим свободной таможенной зоны</a:t>
            </a:r>
            <a:endParaRPr lang="ru-RU" sz="1800">
              <a:solidFill>
                <a:srgbClr val="004D74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  <a:p>
            <a:pPr>
              <a:buClr>
                <a:schemeClr val="folHlink"/>
              </a:buClr>
              <a:buFont typeface="Wingdings" pitchFamily="2" charset="2"/>
              <a:buChar char="Ø"/>
              <a:defRPr/>
            </a:pPr>
            <a:r>
              <a:rPr lang="ru-RU" sz="1800" b="1">
                <a:solidFill>
                  <a:srgbClr val="004D7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Снижение налога на прибыль: 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800">
                <a:solidFill>
                  <a:srgbClr val="004D7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            с 20% до 0% в первые пять лет после получения первой прибыли 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800">
                <a:solidFill>
                  <a:srgbClr val="004D7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            с 20% до 12% в следующие пять лет </a:t>
            </a:r>
          </a:p>
          <a:p>
            <a:pPr>
              <a:buClr>
                <a:schemeClr val="folHlink"/>
              </a:buClr>
              <a:buFont typeface="Wingdings" pitchFamily="2" charset="2"/>
              <a:buChar char="Ø"/>
              <a:defRPr/>
            </a:pPr>
            <a:r>
              <a:rPr lang="ru-RU" sz="1800" b="1">
                <a:solidFill>
                  <a:srgbClr val="004D7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Снижение налога на добычу полезных ископаемых:</a:t>
            </a:r>
            <a:r>
              <a:rPr lang="ru-RU" sz="1800">
                <a:solidFill>
                  <a:srgbClr val="004D7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 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800">
                <a:solidFill>
                  <a:srgbClr val="004D7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            понижающий коэффициент – 0 до получения первой прибыли 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800">
                <a:solidFill>
                  <a:srgbClr val="004D7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            понижающий коэффициент – от 0 до 100% в течение 10 лет после          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800">
                <a:solidFill>
                  <a:srgbClr val="004D7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                                                            получения первой прибыли </a:t>
            </a:r>
          </a:p>
          <a:p>
            <a:pPr>
              <a:buClr>
                <a:schemeClr val="folHlink"/>
              </a:buClr>
              <a:buFont typeface="Wingdings" pitchFamily="2" charset="2"/>
              <a:buChar char="Ø"/>
              <a:defRPr/>
            </a:pPr>
            <a:r>
              <a:rPr lang="ru-RU" sz="1800" b="1">
                <a:solidFill>
                  <a:srgbClr val="004D7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Снижение обязательных страховых взносов в течение 10 лет: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800">
                <a:solidFill>
                  <a:srgbClr val="004D7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            с 22%  до  6%  -  в Пенсионный фонд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800">
                <a:solidFill>
                  <a:srgbClr val="004D7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            с 2,9% до 1,5% - в Фонд социального страхования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800">
                <a:solidFill>
                  <a:srgbClr val="004D7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            с 5,1% до 0,1% - в Фонд обязательного медицинского страхования</a:t>
            </a:r>
          </a:p>
          <a:p>
            <a:pPr>
              <a:buClr>
                <a:schemeClr val="folHlink"/>
              </a:buClr>
              <a:buFont typeface="Wingdings" pitchFamily="2" charset="2"/>
              <a:buChar char="Ø"/>
              <a:defRPr/>
            </a:pPr>
            <a:r>
              <a:rPr lang="ru-RU" sz="1800" b="1">
                <a:solidFill>
                  <a:srgbClr val="004D7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Снижение налога на имущество: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800">
                <a:solidFill>
                  <a:srgbClr val="004D7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            с 2,2% до 0% в первые пять лет, до 1,1% в следующие пять лет</a:t>
            </a:r>
          </a:p>
          <a:p>
            <a:pPr>
              <a:buClr>
                <a:schemeClr val="folHlink"/>
              </a:buClr>
              <a:buFont typeface="Wingdings" pitchFamily="2" charset="2"/>
              <a:buChar char="Ø"/>
              <a:defRPr/>
            </a:pPr>
            <a:r>
              <a:rPr lang="ru-RU" sz="1800" b="1">
                <a:solidFill>
                  <a:srgbClr val="004D7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Освобождение от земельного налога: </a:t>
            </a:r>
            <a:r>
              <a:rPr lang="ru-RU" sz="1800">
                <a:solidFill>
                  <a:srgbClr val="004D7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ставка 0% на три года</a:t>
            </a:r>
            <a:r>
              <a:rPr lang="ru-RU" sz="1900">
                <a:solidFill>
                  <a:srgbClr val="004D7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          </a:t>
            </a:r>
          </a:p>
        </p:txBody>
      </p:sp>
      <p:sp>
        <p:nvSpPr>
          <p:cNvPr id="168966" name="Rectangle 6"/>
          <p:cNvSpPr>
            <a:spLocks noChangeArrowheads="1"/>
          </p:cNvSpPr>
          <p:nvPr/>
        </p:nvSpPr>
        <p:spPr bwMode="auto">
          <a:xfrm>
            <a:off x="358775" y="115888"/>
            <a:ext cx="8605838" cy="701675"/>
          </a:xfrm>
          <a:prstGeom prst="rect">
            <a:avLst/>
          </a:prstGeom>
          <a:solidFill>
            <a:srgbClr val="31739B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31739B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>
              <a:defRPr/>
            </a:pPr>
            <a:endParaRPr lang="ru-RU" sz="800" b="1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cs typeface="Arial" pitchFamily="34" charset="0"/>
            </a:endParaRPr>
          </a:p>
          <a:p>
            <a:pPr>
              <a:defRPr/>
            </a:pPr>
            <a:r>
              <a:rPr lang="ru-RU" sz="24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pitchFamily="34" charset="0"/>
              </a:rPr>
              <a:t>ТОР «БЕРИНГОВСКИЙ»: преференции для резидентов</a:t>
            </a:r>
          </a:p>
          <a:p>
            <a:pPr>
              <a:defRPr/>
            </a:pPr>
            <a:endParaRPr lang="ru-RU" sz="800" b="1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587" y="1196752"/>
            <a:ext cx="7292715" cy="5159598"/>
          </a:xfr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89DBFF2-E474-448C-93DB-325B17F26627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647564" y="512676"/>
            <a:ext cx="80392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1506D4"/>
                </a:solidFill>
              </a:rPr>
              <a:t>Арктика – приоритетный регион стратегического развития Российской Федерации.</a:t>
            </a:r>
            <a:endParaRPr lang="ru-RU" sz="1600" b="1" dirty="0">
              <a:solidFill>
                <a:srgbClr val="1506D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3111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89DBFF2-E474-448C-93DB-325B17F26627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1682802" y="512676"/>
            <a:ext cx="558062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1506D4"/>
                </a:solidFill>
              </a:rPr>
              <a:t>СМП – будущее России</a:t>
            </a:r>
            <a:endParaRPr lang="ru-RU" sz="1600" b="1" dirty="0">
              <a:solidFill>
                <a:srgbClr val="1506D4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1620" y="1268760"/>
            <a:ext cx="7310282" cy="424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5179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89DBFF2-E474-448C-93DB-325B17F26627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9631" y="800708"/>
            <a:ext cx="7397729" cy="450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9572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89DBFF2-E474-448C-93DB-325B17F26627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5576" y="728700"/>
            <a:ext cx="7680853" cy="432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9834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56981"/>
            <a:ext cx="9144000" cy="5144038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89DBFF2-E474-448C-93DB-325B17F26627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27308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Карта ЧАО"/>
          <p:cNvPicPr>
            <a:picLocks noChangeAspect="1" noChangeArrowheads="1"/>
          </p:cNvPicPr>
          <p:nvPr/>
        </p:nvPicPr>
        <p:blipFill>
          <a:blip r:embed="rId2" cstate="print"/>
          <a:srcRect b="9512"/>
          <a:stretch>
            <a:fillRect/>
          </a:stretch>
        </p:blipFill>
        <p:spPr bwMode="auto">
          <a:xfrm>
            <a:off x="0" y="2312988"/>
            <a:ext cx="6227763" cy="454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161925" y="166688"/>
            <a:ext cx="8802688" cy="582612"/>
          </a:xfrm>
          <a:prstGeom prst="rect">
            <a:avLst/>
          </a:prstGeom>
          <a:solidFill>
            <a:srgbClr val="00B0F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61468" y="318617"/>
            <a:ext cx="8773911" cy="446087"/>
          </a:xfrm>
          <a:prstGeom prst="rect">
            <a:avLst/>
          </a:prstGeom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Чукотский автономный округ</a:t>
            </a:r>
            <a:endParaRPr lang="ru-RU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175" name="Прямоугольник 1"/>
          <p:cNvSpPr>
            <a:spLocks noChangeArrowheads="1"/>
          </p:cNvSpPr>
          <p:nvPr/>
        </p:nvSpPr>
        <p:spPr bwMode="auto">
          <a:xfrm>
            <a:off x="6361113" y="6183313"/>
            <a:ext cx="15954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400" b="1" u="sng">
                <a:hlinkClick r:id="rId3"/>
              </a:rPr>
              <a:t>www.chukotka.org</a:t>
            </a:r>
            <a:endParaRPr lang="ru-RU" sz="1400"/>
          </a:p>
        </p:txBody>
      </p:sp>
      <p:sp>
        <p:nvSpPr>
          <p:cNvPr id="7176" name="Прямоугольник 2"/>
          <p:cNvSpPr>
            <a:spLocks noChangeArrowheads="1"/>
          </p:cNvSpPr>
          <p:nvPr/>
        </p:nvSpPr>
        <p:spPr bwMode="auto">
          <a:xfrm>
            <a:off x="5986463" y="6419850"/>
            <a:ext cx="197008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400" b="1" u="sng">
                <a:hlinkClick r:id="rId4"/>
              </a:rPr>
              <a:t>www.visitchukotka.com</a:t>
            </a:r>
            <a:endParaRPr lang="ru-RU" sz="1400"/>
          </a:p>
        </p:txBody>
      </p:sp>
      <p:pic>
        <p:nvPicPr>
          <p:cNvPr id="7177" name="Picture 2" descr="http://upload.wikimedia.org/wikipedia/commons/thumb/7/78/Chukotka_in_Russia.svg/300px-Chukotka_in_Russia.svg.png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03800" y="942975"/>
            <a:ext cx="3938588" cy="212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8" name="Прямоугольник 15"/>
          <p:cNvSpPr>
            <a:spLocks noChangeArrowheads="1"/>
          </p:cNvSpPr>
          <p:nvPr/>
        </p:nvSpPr>
        <p:spPr bwMode="auto">
          <a:xfrm>
            <a:off x="179388" y="944563"/>
            <a:ext cx="6337300" cy="252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Tx/>
              <a:buChar char="•"/>
              <a:tabLst>
                <a:tab pos="457200" algn="l"/>
              </a:tabLst>
            </a:pPr>
            <a:r>
              <a:rPr lang="ru-RU" b="1">
                <a:solidFill>
                  <a:srgbClr val="0070C0"/>
                </a:solidFill>
                <a:cs typeface="Times New Roman" pitchFamily="18" charset="0"/>
              </a:rPr>
              <a:t> </a:t>
            </a:r>
            <a:r>
              <a:rPr lang="ru-RU" sz="1400" b="1">
                <a:solidFill>
                  <a:srgbClr val="0070C0"/>
                </a:solidFill>
                <a:cs typeface="Times New Roman" pitchFamily="18" charset="0"/>
              </a:rPr>
              <a:t>Самый северо-восточный регион Российской Федерации</a:t>
            </a:r>
          </a:p>
          <a:p>
            <a:pPr>
              <a:tabLst>
                <a:tab pos="457200" algn="l"/>
              </a:tabLst>
            </a:pPr>
            <a:endParaRPr lang="ru-RU" sz="1400" b="1">
              <a:solidFill>
                <a:srgbClr val="0070C0"/>
              </a:solidFill>
              <a:cs typeface="Times New Roman" pitchFamily="18" charset="0"/>
            </a:endParaRPr>
          </a:p>
          <a:p>
            <a:pPr>
              <a:buFontTx/>
              <a:buChar char="•"/>
              <a:tabLst>
                <a:tab pos="457200" algn="l"/>
              </a:tabLst>
            </a:pPr>
            <a:r>
              <a:rPr lang="ru-RU" sz="1400" b="1">
                <a:solidFill>
                  <a:srgbClr val="0070C0"/>
                </a:solidFill>
                <a:cs typeface="Times New Roman" pitchFamily="18" charset="0"/>
              </a:rPr>
              <a:t> Площадь – 721,5 тыс. кв. км</a:t>
            </a:r>
          </a:p>
          <a:p>
            <a:pPr>
              <a:tabLst>
                <a:tab pos="457200" algn="l"/>
              </a:tabLst>
            </a:pPr>
            <a:endParaRPr lang="ru-RU" sz="1400" b="1">
              <a:solidFill>
                <a:srgbClr val="0070C0"/>
              </a:solidFill>
              <a:cs typeface="Times New Roman" pitchFamily="18" charset="0"/>
            </a:endParaRPr>
          </a:p>
          <a:p>
            <a:pPr>
              <a:buFontTx/>
              <a:buChar char="•"/>
              <a:tabLst>
                <a:tab pos="457200" algn="l"/>
              </a:tabLst>
            </a:pPr>
            <a:r>
              <a:rPr lang="ru-RU" sz="1400" b="1">
                <a:solidFill>
                  <a:srgbClr val="0070C0"/>
                </a:solidFill>
                <a:cs typeface="Times New Roman" pitchFamily="18" charset="0"/>
              </a:rPr>
              <a:t> Протяженность с севера на юг – более  900 км,</a:t>
            </a:r>
          </a:p>
          <a:p>
            <a:pPr>
              <a:tabLst>
                <a:tab pos="457200" algn="l"/>
              </a:tabLst>
            </a:pPr>
            <a:r>
              <a:rPr lang="ru-RU" sz="1400" b="1">
                <a:solidFill>
                  <a:srgbClr val="0070C0"/>
                </a:solidFill>
                <a:cs typeface="Times New Roman" pitchFamily="18" charset="0"/>
              </a:rPr>
              <a:t>                      с запада на восток – более 1400 км</a:t>
            </a:r>
          </a:p>
          <a:p>
            <a:pPr>
              <a:tabLst>
                <a:tab pos="457200" algn="l"/>
              </a:tabLst>
            </a:pPr>
            <a:endParaRPr lang="ru-RU" sz="1400" b="1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Tx/>
              <a:buChar char="•"/>
              <a:tabLst>
                <a:tab pos="457200" algn="l"/>
              </a:tabLst>
            </a:pPr>
            <a:r>
              <a:rPr lang="ru-RU" sz="1400" b="1">
                <a:solidFill>
                  <a:srgbClr val="0070C0"/>
                </a:solidFill>
                <a:cs typeface="Times New Roman" pitchFamily="18" charset="0"/>
              </a:rPr>
              <a:t> Занимает 4,2% территории страны,</a:t>
            </a:r>
          </a:p>
          <a:p>
            <a:pPr>
              <a:tabLst>
                <a:tab pos="457200" algn="l"/>
              </a:tabLst>
            </a:pPr>
            <a:r>
              <a:rPr lang="ru-RU" sz="1400" b="1">
                <a:solidFill>
                  <a:srgbClr val="0070C0"/>
                </a:solidFill>
                <a:cs typeface="Times New Roman" pitchFamily="18" charset="0"/>
              </a:rPr>
              <a:t>  7% районов Крайнего  Севера и приравненных местностей</a:t>
            </a:r>
          </a:p>
          <a:p>
            <a:pPr>
              <a:tabLst>
                <a:tab pos="457200" algn="l"/>
              </a:tabLst>
            </a:pPr>
            <a:endParaRPr lang="ru-RU" sz="1400" b="1">
              <a:solidFill>
                <a:srgbClr val="0070C0"/>
              </a:solidFill>
              <a:cs typeface="Times New Roman" pitchFamily="18" charset="0"/>
            </a:endParaRPr>
          </a:p>
          <a:p>
            <a:pPr>
              <a:buFontTx/>
              <a:buChar char="•"/>
              <a:tabLst>
                <a:tab pos="457200" algn="l"/>
              </a:tabLst>
            </a:pPr>
            <a:r>
              <a:rPr lang="ru-RU" sz="1400" b="1">
                <a:solidFill>
                  <a:srgbClr val="0070C0"/>
                </a:solidFill>
                <a:cs typeface="Times New Roman" pitchFamily="18" charset="0"/>
              </a:rPr>
              <a:t> Целиком входит в Арктическую зону Российской Федерации</a:t>
            </a:r>
            <a:endParaRPr lang="en-US" sz="1400" b="1">
              <a:solidFill>
                <a:srgbClr val="0070C0"/>
              </a:solidFill>
              <a:cs typeface="Times New Roman" pitchFamily="18" charset="0"/>
            </a:endParaRPr>
          </a:p>
        </p:txBody>
      </p:sp>
      <p:sp>
        <p:nvSpPr>
          <p:cNvPr id="7179" name="Rectangle 3"/>
          <p:cNvSpPr>
            <a:spLocks noChangeArrowheads="1"/>
          </p:cNvSpPr>
          <p:nvPr/>
        </p:nvSpPr>
        <p:spPr bwMode="auto">
          <a:xfrm>
            <a:off x="5472113" y="3049588"/>
            <a:ext cx="3492500" cy="315436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tabLst>
                <a:tab pos="457200" algn="l"/>
              </a:tabLst>
            </a:pPr>
            <a:endParaRPr lang="ru-RU" sz="1200" b="1">
              <a:solidFill>
                <a:srgbClr val="0070C0"/>
              </a:solidFill>
              <a:cs typeface="Times New Roman" pitchFamily="18" charset="0"/>
            </a:endParaRPr>
          </a:p>
          <a:p>
            <a:pPr>
              <a:tabLst>
                <a:tab pos="457200" algn="l"/>
              </a:tabLst>
            </a:pPr>
            <a:endParaRPr lang="ru-RU" sz="1400" b="1">
              <a:solidFill>
                <a:srgbClr val="0070C0"/>
              </a:solidFill>
              <a:cs typeface="Times New Roman" pitchFamily="18" charset="0"/>
            </a:endParaRPr>
          </a:p>
          <a:p>
            <a:pPr>
              <a:buFontTx/>
              <a:buChar char="•"/>
              <a:tabLst>
                <a:tab pos="457200" algn="l"/>
              </a:tabLst>
            </a:pPr>
            <a:r>
              <a:rPr lang="ru-RU" sz="1400" b="1">
                <a:solidFill>
                  <a:srgbClr val="0070C0"/>
                </a:solidFill>
                <a:cs typeface="Times New Roman" pitchFamily="18" charset="0"/>
              </a:rPr>
              <a:t> Население – 50,8 тыс. человек</a:t>
            </a:r>
          </a:p>
          <a:p>
            <a:pPr>
              <a:tabLst>
                <a:tab pos="457200" algn="l"/>
              </a:tabLst>
            </a:pPr>
            <a:endParaRPr lang="ru-RU" sz="1400" b="1">
              <a:solidFill>
                <a:srgbClr val="0070C0"/>
              </a:solidFill>
              <a:cs typeface="Times New Roman" pitchFamily="18" charset="0"/>
            </a:endParaRPr>
          </a:p>
          <a:p>
            <a:pPr>
              <a:buFontTx/>
              <a:buChar char="•"/>
              <a:tabLst>
                <a:tab pos="457200" algn="l"/>
              </a:tabLst>
            </a:pPr>
            <a:r>
              <a:rPr lang="ru-RU" sz="1400" b="1">
                <a:solidFill>
                  <a:srgbClr val="0070C0"/>
                </a:solidFill>
                <a:cs typeface="Times New Roman" pitchFamily="18" charset="0"/>
              </a:rPr>
              <a:t> Плотность – менее 0,1 чел на кв. км</a:t>
            </a:r>
          </a:p>
          <a:p>
            <a:pPr>
              <a:tabLst>
                <a:tab pos="457200" algn="l"/>
              </a:tabLst>
            </a:pPr>
            <a:endParaRPr lang="ru-RU" sz="1400" b="1">
              <a:solidFill>
                <a:srgbClr val="0070C0"/>
              </a:solidFill>
              <a:cs typeface="Times New Roman" pitchFamily="18" charset="0"/>
            </a:endParaRPr>
          </a:p>
          <a:p>
            <a:pPr>
              <a:spcAft>
                <a:spcPct val="25000"/>
              </a:spcAft>
              <a:buFontTx/>
              <a:buChar char="•"/>
              <a:tabLst>
                <a:tab pos="457200" algn="l"/>
              </a:tabLst>
            </a:pPr>
            <a:r>
              <a:rPr lang="ru-RU" sz="1400" b="1">
                <a:solidFill>
                  <a:srgbClr val="0070C0"/>
                </a:solidFill>
                <a:cs typeface="Times New Roman" pitchFamily="18" charset="0"/>
              </a:rPr>
              <a:t> В составе округа 45 муниципальных</a:t>
            </a:r>
          </a:p>
          <a:p>
            <a:pPr>
              <a:spcAft>
                <a:spcPct val="25000"/>
              </a:spcAft>
              <a:tabLst>
                <a:tab pos="457200" algn="l"/>
              </a:tabLst>
            </a:pPr>
            <a:r>
              <a:rPr lang="ru-RU" sz="1400" b="1">
                <a:solidFill>
                  <a:srgbClr val="0070C0"/>
                </a:solidFill>
                <a:cs typeface="Times New Roman" pitchFamily="18" charset="0"/>
              </a:rPr>
              <a:t>   образований:</a:t>
            </a:r>
          </a:p>
          <a:p>
            <a:pPr>
              <a:spcAft>
                <a:spcPct val="25000"/>
              </a:spcAft>
              <a:tabLst>
                <a:tab pos="457200" algn="l"/>
              </a:tabLst>
            </a:pPr>
            <a:r>
              <a:rPr lang="ru-RU" sz="1400" b="1">
                <a:solidFill>
                  <a:srgbClr val="0070C0"/>
                </a:solidFill>
                <a:cs typeface="Times New Roman" pitchFamily="18" charset="0"/>
              </a:rPr>
              <a:t>   6 муниципальных районов</a:t>
            </a:r>
          </a:p>
          <a:p>
            <a:pPr>
              <a:spcAft>
                <a:spcPct val="25000"/>
              </a:spcAft>
              <a:tabLst>
                <a:tab pos="457200" algn="l"/>
              </a:tabLst>
            </a:pPr>
            <a:r>
              <a:rPr lang="ru-RU" sz="1400" b="1">
                <a:solidFill>
                  <a:srgbClr val="0070C0"/>
                </a:solidFill>
                <a:cs typeface="Times New Roman" pitchFamily="18" charset="0"/>
              </a:rPr>
              <a:t>   1 городской округ</a:t>
            </a:r>
          </a:p>
          <a:p>
            <a:pPr>
              <a:spcAft>
                <a:spcPct val="25000"/>
              </a:spcAft>
              <a:tabLst>
                <a:tab pos="457200" algn="l"/>
              </a:tabLst>
            </a:pPr>
            <a:r>
              <a:rPr lang="ru-RU" sz="1400" b="1">
                <a:solidFill>
                  <a:srgbClr val="0070C0"/>
                </a:solidFill>
                <a:cs typeface="Times New Roman" pitchFamily="18" charset="0"/>
              </a:rPr>
              <a:t>   7 городских поселений</a:t>
            </a:r>
          </a:p>
          <a:p>
            <a:pPr>
              <a:spcAft>
                <a:spcPct val="25000"/>
              </a:spcAft>
              <a:tabLst>
                <a:tab pos="457200" algn="l"/>
              </a:tabLst>
            </a:pPr>
            <a:r>
              <a:rPr lang="ru-RU" sz="1400" b="1">
                <a:solidFill>
                  <a:srgbClr val="0070C0"/>
                </a:solidFill>
                <a:cs typeface="Times New Roman" pitchFamily="18" charset="0"/>
              </a:rPr>
              <a:t>   31 сельское поселение</a:t>
            </a:r>
          </a:p>
          <a:p>
            <a:pPr>
              <a:spcAft>
                <a:spcPct val="25000"/>
              </a:spcAft>
              <a:tabLst>
                <a:tab pos="457200" algn="l"/>
              </a:tabLst>
            </a:pPr>
            <a:endParaRPr lang="en-US" sz="1200" b="1">
              <a:solidFill>
                <a:srgbClr val="0070C0"/>
              </a:solidFill>
              <a:cs typeface="Times New Roman" pitchFamily="18" charset="0"/>
            </a:endParaRPr>
          </a:p>
        </p:txBody>
      </p:sp>
      <p:grpSp>
        <p:nvGrpSpPr>
          <p:cNvPr id="7180" name="Группа 2"/>
          <p:cNvGrpSpPr>
            <a:grpSpLocks/>
          </p:cNvGrpSpPr>
          <p:nvPr/>
        </p:nvGrpSpPr>
        <p:grpSpPr bwMode="auto">
          <a:xfrm>
            <a:off x="8072438" y="5697538"/>
            <a:ext cx="863600" cy="1092200"/>
            <a:chOff x="8071779" y="5697715"/>
            <a:chExt cx="863600" cy="1092200"/>
          </a:xfrm>
        </p:grpSpPr>
        <p:pic>
          <p:nvPicPr>
            <p:cNvPr id="7181" name="Picture 35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8071779" y="5697715"/>
              <a:ext cx="863600" cy="1092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182" name="Рисунок 32" descr="герб ЧАО.png"/>
            <p:cNvPicPr>
              <a:picLocks noChangeAspect="1"/>
            </p:cNvPicPr>
            <p:nvPr/>
          </p:nvPicPr>
          <p:blipFill>
            <a:blip r:embed="rId8" cstate="print"/>
            <a:srcRect l="9746" t="9991" r="6847" b="26291"/>
            <a:stretch>
              <a:fillRect/>
            </a:stretch>
          </p:blipFill>
          <p:spPr bwMode="auto">
            <a:xfrm>
              <a:off x="8090759" y="5814216"/>
              <a:ext cx="825639" cy="7947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Номер слайда 1"/>
          <p:cNvSpPr>
            <a:spLocks noGrp="1"/>
          </p:cNvSpPr>
          <p:nvPr>
            <p:ph type="sldNum" sz="quarter" idx="12"/>
          </p:nvPr>
        </p:nvSpPr>
        <p:spPr bwMode="auto">
          <a:xfrm>
            <a:off x="6588125" y="6381750"/>
            <a:ext cx="2133600" cy="365125"/>
          </a:xfrm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D0918E0-E893-4F5A-A3E1-B3F58223F40A}" type="slidenum">
              <a:rPr lang="ru-RU" smtClean="0">
                <a:solidFill>
                  <a:schemeClr val="tx2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ru-RU" dirty="0" smtClean="0">
              <a:solidFill>
                <a:schemeClr val="tx2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61925" y="166688"/>
            <a:ext cx="8802688" cy="582612"/>
          </a:xfrm>
          <a:prstGeom prst="rect">
            <a:avLst/>
          </a:prstGeom>
          <a:solidFill>
            <a:srgbClr val="00B0F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4" name="Заголовок 1"/>
          <p:cNvSpPr txBox="1">
            <a:spLocks/>
          </p:cNvSpPr>
          <p:nvPr/>
        </p:nvSpPr>
        <p:spPr>
          <a:xfrm>
            <a:off x="161468" y="318617"/>
            <a:ext cx="8773911" cy="446087"/>
          </a:xfrm>
          <a:prstGeom prst="rect">
            <a:avLst/>
          </a:prstGeom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труктура валового регионального продукта</a:t>
            </a:r>
            <a:endParaRPr lang="ru-RU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032" name="Группа 15"/>
          <p:cNvGrpSpPr>
            <a:grpSpLocks/>
          </p:cNvGrpSpPr>
          <p:nvPr/>
        </p:nvGrpSpPr>
        <p:grpSpPr bwMode="auto">
          <a:xfrm>
            <a:off x="8072438" y="5697538"/>
            <a:ext cx="863600" cy="1092200"/>
            <a:chOff x="8071779" y="5697715"/>
            <a:chExt cx="863600" cy="1092200"/>
          </a:xfrm>
        </p:grpSpPr>
        <p:pic>
          <p:nvPicPr>
            <p:cNvPr id="1035" name="Picture 35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071779" y="5697715"/>
              <a:ext cx="863600" cy="1092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6" name="Рисунок 17" descr="герб ЧАО.png"/>
            <p:cNvPicPr>
              <a:picLocks noChangeAspect="1"/>
            </p:cNvPicPr>
            <p:nvPr/>
          </p:nvPicPr>
          <p:blipFill>
            <a:blip r:embed="rId4" cstate="print"/>
            <a:srcRect l="9746" t="9991" r="6847" b="26291"/>
            <a:stretch>
              <a:fillRect/>
            </a:stretch>
          </p:blipFill>
          <p:spPr bwMode="auto">
            <a:xfrm>
              <a:off x="8090759" y="5814216"/>
              <a:ext cx="825639" cy="7947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33" name="Прямоугольник 17"/>
          <p:cNvSpPr>
            <a:spLocks noChangeArrowheads="1"/>
          </p:cNvSpPr>
          <p:nvPr/>
        </p:nvSpPr>
        <p:spPr bwMode="auto">
          <a:xfrm>
            <a:off x="6361113" y="6183313"/>
            <a:ext cx="15954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400" b="1" u="sng">
                <a:hlinkClick r:id="rId5"/>
              </a:rPr>
              <a:t>www.chukotka.org</a:t>
            </a:r>
            <a:endParaRPr lang="ru-RU" sz="1400"/>
          </a:p>
        </p:txBody>
      </p:sp>
      <p:sp>
        <p:nvSpPr>
          <p:cNvPr id="1034" name="Прямоугольник 18"/>
          <p:cNvSpPr>
            <a:spLocks noChangeArrowheads="1"/>
          </p:cNvSpPr>
          <p:nvPr/>
        </p:nvSpPr>
        <p:spPr bwMode="auto">
          <a:xfrm>
            <a:off x="5986463" y="6419850"/>
            <a:ext cx="197008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400" b="1" u="sng">
                <a:hlinkClick r:id="rId6"/>
              </a:rPr>
              <a:t>www.visitchukotka.com</a:t>
            </a:r>
            <a:endParaRPr lang="ru-RU" sz="1400"/>
          </a:p>
        </p:txBody>
      </p:sp>
      <p:graphicFrame>
        <p:nvGraphicFramePr>
          <p:cNvPr id="1026" name="Object 5"/>
          <p:cNvGraphicFramePr>
            <a:graphicFrameLocks noChangeAspect="1"/>
          </p:cNvGraphicFramePr>
          <p:nvPr/>
        </p:nvGraphicFramePr>
        <p:xfrm>
          <a:off x="503238" y="152400"/>
          <a:ext cx="8172450" cy="69135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r:id="rId7" imgW="8169348" imgH="6913463" progId="Excel.Chart.8">
                  <p:embed/>
                </p:oleObj>
              </mc:Choice>
              <mc:Fallback>
                <p:oleObj r:id="rId7" imgW="8169348" imgH="6913463" progId="Excel.Chart.8">
                  <p:embed/>
                  <p:pic>
                    <p:nvPicPr>
                      <p:cNvPr id="0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3238" y="152400"/>
                        <a:ext cx="8172450" cy="69135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1506D4"/>
                </a:solidFill>
              </a:rPr>
              <a:t>Полезные ископаемые Чукотки</a:t>
            </a:r>
            <a:endParaRPr lang="ru-RU" dirty="0">
              <a:solidFill>
                <a:srgbClr val="1506D4"/>
              </a:solidFill>
            </a:endParaRPr>
          </a:p>
        </p:txBody>
      </p: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-1" t="9414" r="-1629"/>
          <a:stretch/>
        </p:blipFill>
        <p:spPr>
          <a:xfrm>
            <a:off x="453748" y="1628800"/>
            <a:ext cx="8330719" cy="4910112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89DBFF2-E474-448C-93DB-325B17F26627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3841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LFbs6QxEmpiMlX8neyU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qFHI9Ij0Cv2uobGmN0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dYB2uWMEu6ysEHrRsr6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5RLhdvbkKRglkS9qAm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AKyPumU.Gu9oNxkbl8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W9xP3q_0OghEaZ2ik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LBgr0SSEWbkrAka3BL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bFJlutiUW9BpFPfXmy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aR49ir80COvg2RWw925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VwzqNdrEa0j5c_.RS06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MErFkU0kCwuO3ebhuR0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5XOkYuR0yDLOfLJ.bJ1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gXLMFkkii1.Rdx2S3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R8SONpCk6gS.yk80vf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gym1OdlEG5K7vyyDF5H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nxS9r1XkuMB0at1i5V4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hni79ayU2M_jGUYKuT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UyvA.KI0iEJfLCSpbpE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Tzu1MokG9ADpZcVara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F1f8H.W0yeA6g8c7azs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dI4.X6A0WdJ3JxBjav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8M34ZT.EqIdlmU7KKw8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FZkgQu3U6NIHvIj29lW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noiQTAjU.0QKaWSJ0gZ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0IYHe5q0KoK4C_aYa7w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CMX67ufkSiTiyaO3yO0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q4J8NAHkGlhgZUWv9tD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ax5QctzEywuHWNMW954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M2xbKYO0KC.NqQHm8ds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WWt6v3Y068rfvEZiIYL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TpPUpYTEabZcS7smGs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ALlI0Qv0S3Z5oflOWPz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jCwiZmB0SqJpVzJf_Qb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Dtk_hGwUOO611fKaEx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qG4TJyIkqXOfIPx35fn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LTsXP20UaMEhH4evta6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ckTajaSk6B6vbfKKVik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DggB65TkesWVhZHmY1R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ieDBgVvkq6wyetq3Jr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hni79ayU2M_jGUYKuTY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WYVWu1TU6hAyoto46Z6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gdSlmhs0Od62NSChECX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9RGDcbaU29HGxOrxNrI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qG4TJyIkqXOfIPx35fn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qG4TJyIkqXOfIPx35fn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LTsXP20UaMEhH4evta6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M2xbKYO0KC.NqQHm8d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gXLMFkkii1.Rdx2S3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Dtk_hGwUOO611fKaExE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qx5IunkGECPOZvNDPO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qx5IunkGECPOZvNDP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Hf9c_9O0qxP8HJk6jqw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LTsXP20UaMEhH4evta6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qx5IunkGECPOZvNDP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qx5IunkGECPOZvNDP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qx5IunkGECPOZvNDP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qx5IunkGECPOZvNDP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gym1OdlEG5K7vyyDF5H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gym1OdlEG5K7vyyDF5H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LBgr0SSEWbkrAka3BLD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aYjKG4a0yUe0RE59HgW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gkj3RvvUevSfJcVCosd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hni79ayU2M_jGUYKuT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5XOkYuR0yDLOfLJ.bJ1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x4dw0Vj0un9s6dnHy0k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F1f8H.W0yeA6g8c7azs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F1f8H.W0yeA6g8c7azs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oi8nncO0mEOljVvjNEt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noiQTAjU.0QKaWSJ0gZ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Dtk_hGwUOO611fKaExE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qx5IunkGECPOZvNDPO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ckTajaSk6B6vbfKKVik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q4J8NAHkGlhgZUWv9tD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ueS1LjOECbOStIzRCVu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x4dw0Vj0un9s6dnHy0k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x4dw0Vj0un9s6dnHy0k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x4dw0Vj0un9s6dnHy0k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aYjKG4a0yUe0RE59Hg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g5J_XYdkO3MLiquyGVS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x4dw0Vj0un9s6dnHy0k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VzO3uA50OFmV0fTBzOi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aYjKG4a0yUe0RE59HgW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LBgr0SSEWbkrAka3BLD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C101859861[[fn=Выставка]]</Template>
  <TotalTime>12206</TotalTime>
  <Words>518</Words>
  <Application>Microsoft Office PowerPoint</Application>
  <PresentationFormat>Экран (4:3)</PresentationFormat>
  <Paragraphs>144</Paragraphs>
  <Slides>17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7</vt:i4>
      </vt:variant>
    </vt:vector>
  </HeadingPairs>
  <TitlesOfParts>
    <vt:vector size="24" baseType="lpstr">
      <vt:lpstr>Calibri</vt:lpstr>
      <vt:lpstr>Times New Roman</vt:lpstr>
      <vt:lpstr>Arial</vt:lpstr>
      <vt:lpstr>Wingdings</vt:lpstr>
      <vt:lpstr>Тема Office</vt:lpstr>
      <vt:lpstr>Диаграмма Microsoft Excel</vt:lpstr>
      <vt:lpstr>Объект упаковщика для оболочк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олезные ископаемые Чукотк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HP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Усенко Виктор</dc:creator>
  <cp:lastModifiedBy>SF</cp:lastModifiedBy>
  <cp:revision>769</cp:revision>
  <cp:lastPrinted>2012-09-11T08:53:03Z</cp:lastPrinted>
  <dcterms:created xsi:type="dcterms:W3CDTF">2012-04-09T07:38:47Z</dcterms:created>
  <dcterms:modified xsi:type="dcterms:W3CDTF">2025-11-25T03:12:14Z</dcterms:modified>
</cp:coreProperties>
</file>